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4"/>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59" autoAdjust="0"/>
    <p:restoredTop sz="89492" autoAdjust="0"/>
  </p:normalViewPr>
  <p:slideViewPr>
    <p:cSldViewPr snapToGrid="0">
      <p:cViewPr varScale="1">
        <p:scale>
          <a:sx n="98" d="100"/>
          <a:sy n="98" d="100"/>
        </p:scale>
        <p:origin x="70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29D96D-C5B0-47CB-9ADB-8D5F70F1B5E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A1ADE3F-6AE4-4226-A2A3-DE15283DC8D3}">
      <dgm:prSet phldrT="[Text]"/>
      <dgm:spPr/>
      <dgm:t>
        <a:bodyPr/>
        <a:lstStyle/>
        <a:p>
          <a:r>
            <a:rPr lang="en-US" dirty="0"/>
            <a:t>File Server</a:t>
          </a:r>
        </a:p>
      </dgm:t>
    </dgm:pt>
    <dgm:pt modelId="{127D5C9D-161E-459B-8647-4815B713E645}" type="parTrans" cxnId="{61B255BB-67A1-4B77-BB0B-3118C78356EE}">
      <dgm:prSet/>
      <dgm:spPr/>
      <dgm:t>
        <a:bodyPr/>
        <a:lstStyle/>
        <a:p>
          <a:endParaRPr lang="en-US"/>
        </a:p>
      </dgm:t>
    </dgm:pt>
    <dgm:pt modelId="{1AD0CDA4-4764-4B6A-86E5-065C4769E1E9}" type="sibTrans" cxnId="{61B255BB-67A1-4B77-BB0B-3118C78356EE}">
      <dgm:prSet/>
      <dgm:spPr/>
      <dgm:t>
        <a:bodyPr/>
        <a:lstStyle/>
        <a:p>
          <a:endParaRPr lang="en-US"/>
        </a:p>
      </dgm:t>
    </dgm:pt>
    <dgm:pt modelId="{184ACC56-F94E-4B6C-AD8F-B862C05EF544}">
      <dgm:prSet phldrT="[Text]"/>
      <dgm:spPr/>
      <dgm:t>
        <a:bodyPr/>
        <a:lstStyle/>
        <a:p>
          <a:pPr algn="l"/>
          <a:r>
            <a:rPr lang="en-US" b="0" i="0" dirty="0"/>
            <a:t>Users can access their work from any workstation</a:t>
          </a:r>
          <a:endParaRPr lang="en-US" dirty="0"/>
        </a:p>
      </dgm:t>
    </dgm:pt>
    <dgm:pt modelId="{6F31F58C-7286-430C-A814-4F37789E39D1}" type="parTrans" cxnId="{0B7242DD-4A8E-4496-9145-9430C620DF5B}">
      <dgm:prSet/>
      <dgm:spPr/>
      <dgm:t>
        <a:bodyPr/>
        <a:lstStyle/>
        <a:p>
          <a:endParaRPr lang="en-US"/>
        </a:p>
      </dgm:t>
    </dgm:pt>
    <dgm:pt modelId="{2B3E4DA7-6DA8-4DE1-B871-CCB6EBD3655E}" type="sibTrans" cxnId="{0B7242DD-4A8E-4496-9145-9430C620DF5B}">
      <dgm:prSet/>
      <dgm:spPr/>
      <dgm:t>
        <a:bodyPr/>
        <a:lstStyle/>
        <a:p>
          <a:endParaRPr lang="en-US"/>
        </a:p>
      </dgm:t>
    </dgm:pt>
    <dgm:pt modelId="{426C962B-8B14-40F3-89B4-38FCBF5D65DC}">
      <dgm:prSet phldrT="[Text]"/>
      <dgm:spPr/>
      <dgm:t>
        <a:bodyPr/>
        <a:lstStyle/>
        <a:p>
          <a:r>
            <a:rPr lang="en-US" dirty="0"/>
            <a:t>Print Server</a:t>
          </a:r>
        </a:p>
      </dgm:t>
    </dgm:pt>
    <dgm:pt modelId="{AB82AD76-8B71-47DC-B8A6-80751CE506B5}" type="parTrans" cxnId="{A6F3E0CF-349A-4CF1-98EF-D750DE057E43}">
      <dgm:prSet/>
      <dgm:spPr/>
      <dgm:t>
        <a:bodyPr/>
        <a:lstStyle/>
        <a:p>
          <a:endParaRPr lang="en-US"/>
        </a:p>
      </dgm:t>
    </dgm:pt>
    <dgm:pt modelId="{02A2ECDE-6E3E-4A95-9052-59EC2D020034}" type="sibTrans" cxnId="{A6F3E0CF-349A-4CF1-98EF-D750DE057E43}">
      <dgm:prSet/>
      <dgm:spPr/>
      <dgm:t>
        <a:bodyPr/>
        <a:lstStyle/>
        <a:p>
          <a:endParaRPr lang="en-US"/>
        </a:p>
      </dgm:t>
    </dgm:pt>
    <dgm:pt modelId="{4B5832BF-60B4-4E2C-99AC-BFD6D4B10515}">
      <dgm:prSet phldrT="[Text]"/>
      <dgm:spPr/>
      <dgm:t>
        <a:bodyPr/>
        <a:lstStyle/>
        <a:p>
          <a:r>
            <a:rPr lang="en-US" b="0" i="0" dirty="0"/>
            <a:t>Printers only need be purchased for the print servers. This results in financial savings.</a:t>
          </a:r>
          <a:br>
            <a:rPr lang="en-US" b="0" i="0" dirty="0"/>
          </a:br>
          <a:r>
            <a:rPr lang="en-US" b="0" i="0" dirty="0"/>
            <a:t>• As there are fewer printers to look after, there is lower maintenance.</a:t>
          </a:r>
          <a:br>
            <a:rPr lang="en-US" b="0" i="0" dirty="0"/>
          </a:br>
          <a:r>
            <a:rPr lang="en-US" b="0" i="0" dirty="0"/>
            <a:t>• As far fewer printers need to be purchased better quality printers with advanced features can</a:t>
          </a:r>
          <a:br>
            <a:rPr lang="en-US" b="0" i="0" dirty="0"/>
          </a:br>
          <a:r>
            <a:rPr lang="en-US" b="0" i="0" dirty="0"/>
            <a:t>be purchased.</a:t>
          </a:r>
          <a:endParaRPr lang="en-US" dirty="0"/>
        </a:p>
      </dgm:t>
    </dgm:pt>
    <dgm:pt modelId="{B1F91C21-706F-4D80-B594-7FA83B4C0C67}" type="parTrans" cxnId="{6D39C367-9C02-4ED5-BA50-4601E0E2B214}">
      <dgm:prSet/>
      <dgm:spPr/>
      <dgm:t>
        <a:bodyPr/>
        <a:lstStyle/>
        <a:p>
          <a:endParaRPr lang="en-US"/>
        </a:p>
      </dgm:t>
    </dgm:pt>
    <dgm:pt modelId="{12D9AF33-306C-4112-8FE0-6B6342067C15}" type="sibTrans" cxnId="{6D39C367-9C02-4ED5-BA50-4601E0E2B214}">
      <dgm:prSet/>
      <dgm:spPr/>
      <dgm:t>
        <a:bodyPr/>
        <a:lstStyle/>
        <a:p>
          <a:endParaRPr lang="en-US"/>
        </a:p>
      </dgm:t>
    </dgm:pt>
    <dgm:pt modelId="{EDB08E14-A161-4258-A799-68F24D435783}">
      <dgm:prSet phldrT="[Text]"/>
      <dgm:spPr/>
      <dgm:t>
        <a:bodyPr/>
        <a:lstStyle/>
        <a:p>
          <a:r>
            <a:rPr lang="en-US" dirty="0"/>
            <a:t>Application Server</a:t>
          </a:r>
        </a:p>
      </dgm:t>
    </dgm:pt>
    <dgm:pt modelId="{4DD43CE9-4C52-438F-A0F5-ACA6CD665ACC}" type="parTrans" cxnId="{FF724421-5141-437D-AC9C-1383B1C9E91B}">
      <dgm:prSet/>
      <dgm:spPr/>
      <dgm:t>
        <a:bodyPr/>
        <a:lstStyle/>
        <a:p>
          <a:endParaRPr lang="en-US"/>
        </a:p>
      </dgm:t>
    </dgm:pt>
    <dgm:pt modelId="{9C1A5748-78AE-4139-AC44-2FA75B113B57}" type="sibTrans" cxnId="{FF724421-5141-437D-AC9C-1383B1C9E91B}">
      <dgm:prSet/>
      <dgm:spPr/>
      <dgm:t>
        <a:bodyPr/>
        <a:lstStyle/>
        <a:p>
          <a:endParaRPr lang="en-US"/>
        </a:p>
      </dgm:t>
    </dgm:pt>
    <dgm:pt modelId="{E99D571C-D9DD-47BD-8A04-032E0EFFDB79}">
      <dgm:prSet phldrT="[Text]"/>
      <dgm:spPr/>
      <dgm:t>
        <a:bodyPr/>
        <a:lstStyle/>
        <a:p>
          <a:r>
            <a:rPr lang="en-US" b="0" i="0" dirty="0"/>
            <a:t>Software only needs to be installed on the applications server instead of each workstation.</a:t>
          </a:r>
          <a:endParaRPr lang="en-US" dirty="0"/>
        </a:p>
      </dgm:t>
    </dgm:pt>
    <dgm:pt modelId="{2E6EC7A0-A9CC-446B-9497-9339E96E7CE3}" type="parTrans" cxnId="{C634EB2C-0A71-4328-B3EC-D079E4BE07AE}">
      <dgm:prSet/>
      <dgm:spPr/>
      <dgm:t>
        <a:bodyPr/>
        <a:lstStyle/>
        <a:p>
          <a:endParaRPr lang="en-US"/>
        </a:p>
      </dgm:t>
    </dgm:pt>
    <dgm:pt modelId="{0E8FF72D-306D-4925-9B43-EA51154447B9}" type="sibTrans" cxnId="{C634EB2C-0A71-4328-B3EC-D079E4BE07AE}">
      <dgm:prSet/>
      <dgm:spPr/>
      <dgm:t>
        <a:bodyPr/>
        <a:lstStyle/>
        <a:p>
          <a:endParaRPr lang="en-US"/>
        </a:p>
      </dgm:t>
    </dgm:pt>
    <dgm:pt modelId="{95CA6FE9-8B53-4D95-84B2-5E38059CF952}">
      <dgm:prSet phldrT="[Text]"/>
      <dgm:spPr/>
      <dgm:t>
        <a:bodyPr/>
        <a:lstStyle/>
        <a:p>
          <a:pPr algn="l"/>
          <a:r>
            <a:rPr lang="en-US" b="0" i="0" dirty="0"/>
            <a:t>Exchange work with colleagues.</a:t>
          </a:r>
          <a:endParaRPr lang="en-US" dirty="0"/>
        </a:p>
      </dgm:t>
    </dgm:pt>
    <dgm:pt modelId="{04F8EA0A-8D1F-4D3E-8A3D-5A4EABA4D2FA}" type="parTrans" cxnId="{D60CE65A-57D9-4753-8453-A470CC9D62E8}">
      <dgm:prSet/>
      <dgm:spPr/>
      <dgm:t>
        <a:bodyPr/>
        <a:lstStyle/>
        <a:p>
          <a:endParaRPr lang="en-US"/>
        </a:p>
      </dgm:t>
    </dgm:pt>
    <dgm:pt modelId="{4AD7285D-8641-4A35-9E8B-DDF3AC453E5C}" type="sibTrans" cxnId="{D60CE65A-57D9-4753-8453-A470CC9D62E8}">
      <dgm:prSet/>
      <dgm:spPr/>
      <dgm:t>
        <a:bodyPr/>
        <a:lstStyle/>
        <a:p>
          <a:endParaRPr lang="en-US"/>
        </a:p>
      </dgm:t>
    </dgm:pt>
    <dgm:pt modelId="{F22D09AC-FC5B-49DE-8142-74821AC18C31}">
      <dgm:prSet phldrT="[Text]"/>
      <dgm:spPr/>
      <dgm:t>
        <a:bodyPr/>
        <a:lstStyle/>
        <a:p>
          <a:pPr algn="l"/>
          <a:r>
            <a:rPr lang="en-US" b="0" i="0" dirty="0"/>
            <a:t>Users can easily co-operate on tasks.</a:t>
          </a:r>
          <a:endParaRPr lang="en-US" dirty="0"/>
        </a:p>
      </dgm:t>
    </dgm:pt>
    <dgm:pt modelId="{A7835E78-2CCB-4E61-89E8-84A9180375E6}" type="parTrans" cxnId="{3CAB5D21-5633-4FE8-B71E-F0B7788C895D}">
      <dgm:prSet/>
      <dgm:spPr/>
      <dgm:t>
        <a:bodyPr/>
        <a:lstStyle/>
        <a:p>
          <a:endParaRPr lang="en-US"/>
        </a:p>
      </dgm:t>
    </dgm:pt>
    <dgm:pt modelId="{7E69E290-451C-485F-B62D-9FBCF1087E87}" type="sibTrans" cxnId="{3CAB5D21-5633-4FE8-B71E-F0B7788C895D}">
      <dgm:prSet/>
      <dgm:spPr/>
      <dgm:t>
        <a:bodyPr/>
        <a:lstStyle/>
        <a:p>
          <a:endParaRPr lang="en-US"/>
        </a:p>
      </dgm:t>
    </dgm:pt>
    <dgm:pt modelId="{98786F46-77C1-40BA-A4FA-E4D11B0CC42B}">
      <dgm:prSet phldrT="[Text]"/>
      <dgm:spPr/>
      <dgm:t>
        <a:bodyPr/>
        <a:lstStyle/>
        <a:p>
          <a:pPr algn="l"/>
          <a:r>
            <a:rPr lang="en-US" b="0" i="0" dirty="0"/>
            <a:t>Backing up is centralized and can be placed under the control of experts</a:t>
          </a:r>
          <a:endParaRPr lang="en-US" dirty="0"/>
        </a:p>
      </dgm:t>
    </dgm:pt>
    <dgm:pt modelId="{DCF188FB-93E4-4E22-931A-BF0BD86A3B72}" type="parTrans" cxnId="{50FFF668-8BD7-4002-89D5-0974D88D527A}">
      <dgm:prSet/>
      <dgm:spPr/>
      <dgm:t>
        <a:bodyPr/>
        <a:lstStyle/>
        <a:p>
          <a:endParaRPr lang="en-US"/>
        </a:p>
      </dgm:t>
    </dgm:pt>
    <dgm:pt modelId="{F51640C2-54F7-4BB8-BBB2-5B56F92C45F7}" type="sibTrans" cxnId="{50FFF668-8BD7-4002-89D5-0974D88D527A}">
      <dgm:prSet/>
      <dgm:spPr/>
      <dgm:t>
        <a:bodyPr/>
        <a:lstStyle/>
        <a:p>
          <a:endParaRPr lang="en-US"/>
        </a:p>
      </dgm:t>
    </dgm:pt>
    <dgm:pt modelId="{A518CB49-DD99-42B4-A7FE-82D48AEE84C7}">
      <dgm:prSet phldrT="[Text]"/>
      <dgm:spPr/>
      <dgm:t>
        <a:bodyPr/>
        <a:lstStyle/>
        <a:p>
          <a:r>
            <a:rPr lang="en-US" b="0" i="0" dirty="0"/>
            <a:t>Software is configured in the same way for all.</a:t>
          </a:r>
          <a:endParaRPr lang="en-US" dirty="0"/>
        </a:p>
      </dgm:t>
    </dgm:pt>
    <dgm:pt modelId="{74394916-A4F6-48C2-A108-CB1B1D9BCDD4}" type="parTrans" cxnId="{A3CDEF19-6A08-4169-B47B-764D00D856C5}">
      <dgm:prSet/>
      <dgm:spPr/>
      <dgm:t>
        <a:bodyPr/>
        <a:lstStyle/>
        <a:p>
          <a:endParaRPr lang="en-US"/>
        </a:p>
      </dgm:t>
    </dgm:pt>
    <dgm:pt modelId="{AEA9807F-F7F6-44B2-90EB-969B9CC3282B}" type="sibTrans" cxnId="{A3CDEF19-6A08-4169-B47B-764D00D856C5}">
      <dgm:prSet/>
      <dgm:spPr/>
      <dgm:t>
        <a:bodyPr/>
        <a:lstStyle/>
        <a:p>
          <a:endParaRPr lang="en-US"/>
        </a:p>
      </dgm:t>
    </dgm:pt>
    <dgm:pt modelId="{97AB9A54-05F6-46EA-8D92-01934F888988}">
      <dgm:prSet phldrT="[Text]"/>
      <dgm:spPr/>
      <dgm:t>
        <a:bodyPr/>
        <a:lstStyle/>
        <a:p>
          <a:r>
            <a:rPr lang="en-US" b="0" i="0" dirty="0"/>
            <a:t>Upgrading only needs to be done on the server.</a:t>
          </a:r>
          <a:endParaRPr lang="en-US" dirty="0"/>
        </a:p>
      </dgm:t>
    </dgm:pt>
    <dgm:pt modelId="{D3F0A300-DB7E-4888-B526-F2530018FE03}" type="parTrans" cxnId="{FE89AFF7-C7F9-4AAC-9BFA-857E141F4951}">
      <dgm:prSet/>
      <dgm:spPr/>
      <dgm:t>
        <a:bodyPr/>
        <a:lstStyle/>
        <a:p>
          <a:endParaRPr lang="en-US"/>
        </a:p>
      </dgm:t>
    </dgm:pt>
    <dgm:pt modelId="{027D9DDB-70F4-4281-839B-79C375DF6042}" type="sibTrans" cxnId="{FE89AFF7-C7F9-4AAC-9BFA-857E141F4951}">
      <dgm:prSet/>
      <dgm:spPr/>
      <dgm:t>
        <a:bodyPr/>
        <a:lstStyle/>
        <a:p>
          <a:endParaRPr lang="en-US"/>
        </a:p>
      </dgm:t>
    </dgm:pt>
    <dgm:pt modelId="{4B35C7D4-4EDA-445F-9323-D51B6E646388}">
      <dgm:prSet phldrT="[Text]"/>
      <dgm:spPr/>
      <dgm:t>
        <a:bodyPr/>
        <a:lstStyle/>
        <a:p>
          <a:r>
            <a:rPr lang="en-US" b="0" i="0" dirty="0"/>
            <a:t>Cost of licensing software for an applications server is less</a:t>
          </a:r>
          <a:endParaRPr lang="en-US" dirty="0"/>
        </a:p>
      </dgm:t>
    </dgm:pt>
    <dgm:pt modelId="{73E79D41-30CE-49AF-A632-53E5D9D9C970}" type="parTrans" cxnId="{23C6C1F6-B84C-4009-AB06-849F80970883}">
      <dgm:prSet/>
      <dgm:spPr/>
      <dgm:t>
        <a:bodyPr/>
        <a:lstStyle/>
        <a:p>
          <a:endParaRPr lang="en-US"/>
        </a:p>
      </dgm:t>
    </dgm:pt>
    <dgm:pt modelId="{BA5F7B01-5843-48C9-B326-5B2F48EE4F32}" type="sibTrans" cxnId="{23C6C1F6-B84C-4009-AB06-849F80970883}">
      <dgm:prSet/>
      <dgm:spPr/>
      <dgm:t>
        <a:bodyPr/>
        <a:lstStyle/>
        <a:p>
          <a:endParaRPr lang="en-US"/>
        </a:p>
      </dgm:t>
    </dgm:pt>
    <dgm:pt modelId="{95143E43-3F82-45ED-A628-08461DE7C632}">
      <dgm:prSet phldrT="[Text]"/>
      <dgm:spPr/>
      <dgm:t>
        <a:bodyPr/>
        <a:lstStyle/>
        <a:p>
          <a:r>
            <a:rPr lang="en-US" b="0" i="0" dirty="0"/>
            <a:t>Centralizing simplifies the process of implementing policies. Software policies refer to what software may be installed on computers</a:t>
          </a:r>
          <a:endParaRPr lang="en-US" dirty="0"/>
        </a:p>
      </dgm:t>
    </dgm:pt>
    <dgm:pt modelId="{F8D3B3CD-9703-4E35-8526-731A46E4366D}" type="parTrans" cxnId="{7894DC4C-410A-4954-997E-EE5BC5AEE6A3}">
      <dgm:prSet/>
      <dgm:spPr/>
      <dgm:t>
        <a:bodyPr/>
        <a:lstStyle/>
        <a:p>
          <a:endParaRPr lang="en-US"/>
        </a:p>
      </dgm:t>
    </dgm:pt>
    <dgm:pt modelId="{C7F02478-E5F9-4884-85FC-5EF2752470B3}" type="sibTrans" cxnId="{7894DC4C-410A-4954-997E-EE5BC5AEE6A3}">
      <dgm:prSet/>
      <dgm:spPr/>
      <dgm:t>
        <a:bodyPr/>
        <a:lstStyle/>
        <a:p>
          <a:endParaRPr lang="en-US"/>
        </a:p>
      </dgm:t>
    </dgm:pt>
    <dgm:pt modelId="{14983D7E-490E-48BA-8693-1700F8D0B18F}">
      <dgm:prSet phldrT="[Text]"/>
      <dgm:spPr/>
      <dgm:t>
        <a:bodyPr/>
        <a:lstStyle/>
        <a:p>
          <a:r>
            <a:rPr lang="en-US" dirty="0"/>
            <a:t>Proxy Server</a:t>
          </a:r>
        </a:p>
      </dgm:t>
    </dgm:pt>
    <dgm:pt modelId="{9D963BC1-E3AC-4A01-AAA2-A654C4790F1A}" type="parTrans" cxnId="{C227B970-3DB2-4FD2-AB33-4CC374F21690}">
      <dgm:prSet/>
      <dgm:spPr/>
      <dgm:t>
        <a:bodyPr/>
        <a:lstStyle/>
        <a:p>
          <a:endParaRPr lang="en-US"/>
        </a:p>
      </dgm:t>
    </dgm:pt>
    <dgm:pt modelId="{A2365301-77C4-43D1-9335-7A08C4633C64}" type="sibTrans" cxnId="{C227B970-3DB2-4FD2-AB33-4CC374F21690}">
      <dgm:prSet/>
      <dgm:spPr/>
      <dgm:t>
        <a:bodyPr/>
        <a:lstStyle/>
        <a:p>
          <a:endParaRPr lang="en-US"/>
        </a:p>
      </dgm:t>
    </dgm:pt>
    <dgm:pt modelId="{9009CEFD-9C0B-40E8-ABAF-6BEE1888AD85}">
      <dgm:prSet phldrT="[Text]"/>
      <dgm:spPr/>
      <dgm:t>
        <a:bodyPr/>
        <a:lstStyle/>
        <a:p>
          <a:r>
            <a:rPr lang="en-US" b="0" i="0" dirty="0"/>
            <a:t>can be configured with </a:t>
          </a:r>
          <a:r>
            <a:rPr lang="en-US" b="1" i="0" dirty="0"/>
            <a:t>firewall </a:t>
          </a:r>
          <a:r>
            <a:rPr lang="en-US" b="0" i="0" dirty="0"/>
            <a:t>software. To protect network from</a:t>
          </a:r>
          <a:br>
            <a:rPr lang="en-US" b="0" i="0" dirty="0"/>
          </a:br>
          <a:r>
            <a:rPr lang="en-US" b="0" i="0" dirty="0"/>
            <a:t>attack.</a:t>
          </a:r>
          <a:endParaRPr lang="en-US" dirty="0"/>
        </a:p>
      </dgm:t>
    </dgm:pt>
    <dgm:pt modelId="{D1E817A3-0055-4D37-839D-FB3E314E2E44}" type="parTrans" cxnId="{59A36683-DC43-4A57-8C13-87F875474C3B}">
      <dgm:prSet/>
      <dgm:spPr/>
      <dgm:t>
        <a:bodyPr/>
        <a:lstStyle/>
        <a:p>
          <a:endParaRPr lang="en-US"/>
        </a:p>
      </dgm:t>
    </dgm:pt>
    <dgm:pt modelId="{447627E8-A574-475F-A181-64DA0B4D7450}" type="sibTrans" cxnId="{59A36683-DC43-4A57-8C13-87F875474C3B}">
      <dgm:prSet/>
      <dgm:spPr/>
      <dgm:t>
        <a:bodyPr/>
        <a:lstStyle/>
        <a:p>
          <a:endParaRPr lang="en-US"/>
        </a:p>
      </dgm:t>
    </dgm:pt>
    <dgm:pt modelId="{A95E6924-CDB6-4CE9-836C-E813E33553C7}">
      <dgm:prSet phldrT="[Text]"/>
      <dgm:spPr/>
      <dgm:t>
        <a:bodyPr/>
        <a:lstStyle/>
        <a:p>
          <a:r>
            <a:rPr lang="en-US" b="0" i="0" dirty="0"/>
            <a:t>Files can be filtered for computer viruses before being passed on to the network</a:t>
          </a:r>
          <a:endParaRPr lang="en-US" dirty="0"/>
        </a:p>
      </dgm:t>
    </dgm:pt>
    <dgm:pt modelId="{E4198B8A-E648-404C-BD7B-02D4A615D4AE}" type="parTrans" cxnId="{4AA58349-2A30-4A1C-A91D-416AC565ECE2}">
      <dgm:prSet/>
      <dgm:spPr/>
      <dgm:t>
        <a:bodyPr/>
        <a:lstStyle/>
        <a:p>
          <a:endParaRPr lang="en-US"/>
        </a:p>
      </dgm:t>
    </dgm:pt>
    <dgm:pt modelId="{DE64D511-9088-4776-91EB-ACB17CE4BA85}" type="sibTrans" cxnId="{4AA58349-2A30-4A1C-A91D-416AC565ECE2}">
      <dgm:prSet/>
      <dgm:spPr/>
      <dgm:t>
        <a:bodyPr/>
        <a:lstStyle/>
        <a:p>
          <a:endParaRPr lang="en-US"/>
        </a:p>
      </dgm:t>
    </dgm:pt>
    <dgm:pt modelId="{AE8F7FBA-846C-4B45-A027-217D3E8F1B9C}">
      <dgm:prSet phldrT="[Text]"/>
      <dgm:spPr/>
      <dgm:t>
        <a:bodyPr/>
        <a:lstStyle/>
        <a:p>
          <a:r>
            <a:rPr lang="en-US" b="0" i="0" dirty="0"/>
            <a:t>Organizations can control access of users to outside sites.</a:t>
          </a:r>
          <a:endParaRPr lang="en-US" dirty="0"/>
        </a:p>
      </dgm:t>
    </dgm:pt>
    <dgm:pt modelId="{C846E683-F112-499C-A228-C196843B8F53}" type="parTrans" cxnId="{05D34E81-4BC6-4540-93EE-4CDC76D84F27}">
      <dgm:prSet/>
      <dgm:spPr/>
      <dgm:t>
        <a:bodyPr/>
        <a:lstStyle/>
        <a:p>
          <a:endParaRPr lang="en-US"/>
        </a:p>
      </dgm:t>
    </dgm:pt>
    <dgm:pt modelId="{236C3254-BD25-4359-A737-DA3486B29E2F}" type="sibTrans" cxnId="{05D34E81-4BC6-4540-93EE-4CDC76D84F27}">
      <dgm:prSet/>
      <dgm:spPr/>
      <dgm:t>
        <a:bodyPr/>
        <a:lstStyle/>
        <a:p>
          <a:endParaRPr lang="en-US"/>
        </a:p>
      </dgm:t>
    </dgm:pt>
    <dgm:pt modelId="{DF7F9B89-9B08-48EE-90A5-B79EE2CF42DF}">
      <dgm:prSet phldrT="[Text]"/>
      <dgm:spPr/>
      <dgm:t>
        <a:bodyPr/>
        <a:lstStyle/>
        <a:p>
          <a:r>
            <a:rPr lang="en-US" b="0" i="0" dirty="0"/>
            <a:t>Since there is only one point of communication, there is a large saving on line costs.</a:t>
          </a:r>
          <a:br>
            <a:rPr lang="en-US" dirty="0"/>
          </a:br>
          <a:br>
            <a:rPr lang="en-US" dirty="0"/>
          </a:br>
          <a:endParaRPr lang="en-US" dirty="0"/>
        </a:p>
      </dgm:t>
    </dgm:pt>
    <dgm:pt modelId="{44D611F9-A442-4755-B8AC-5CDA24EA26CC}" type="parTrans" cxnId="{1B0F4BEF-3C10-4FC1-8A52-7BCAB84BCC84}">
      <dgm:prSet/>
      <dgm:spPr/>
      <dgm:t>
        <a:bodyPr/>
        <a:lstStyle/>
        <a:p>
          <a:endParaRPr lang="en-US"/>
        </a:p>
      </dgm:t>
    </dgm:pt>
    <dgm:pt modelId="{B6B0BD9C-C468-4B2D-A3C0-744461D6BE04}" type="sibTrans" cxnId="{1B0F4BEF-3C10-4FC1-8A52-7BCAB84BCC84}">
      <dgm:prSet/>
      <dgm:spPr/>
      <dgm:t>
        <a:bodyPr/>
        <a:lstStyle/>
        <a:p>
          <a:endParaRPr lang="en-US"/>
        </a:p>
      </dgm:t>
    </dgm:pt>
    <dgm:pt modelId="{5916D303-A936-451F-8322-85035E99F11B}" type="pres">
      <dgm:prSet presAssocID="{9529D96D-C5B0-47CB-9ADB-8D5F70F1B5E0}" presName="Name0" presStyleCnt="0">
        <dgm:presLayoutVars>
          <dgm:dir/>
          <dgm:animLvl val="lvl"/>
          <dgm:resizeHandles val="exact"/>
        </dgm:presLayoutVars>
      </dgm:prSet>
      <dgm:spPr/>
    </dgm:pt>
    <dgm:pt modelId="{EB55AFF4-A628-4BCF-8202-99163B66D3E2}" type="pres">
      <dgm:prSet presAssocID="{3A1ADE3F-6AE4-4226-A2A3-DE15283DC8D3}" presName="composite" presStyleCnt="0"/>
      <dgm:spPr/>
    </dgm:pt>
    <dgm:pt modelId="{40495F20-6E79-4B24-B28A-CE13354A7FFF}" type="pres">
      <dgm:prSet presAssocID="{3A1ADE3F-6AE4-4226-A2A3-DE15283DC8D3}" presName="parTx" presStyleLbl="alignNode1" presStyleIdx="0" presStyleCnt="4">
        <dgm:presLayoutVars>
          <dgm:chMax val="0"/>
          <dgm:chPref val="0"/>
          <dgm:bulletEnabled val="1"/>
        </dgm:presLayoutVars>
      </dgm:prSet>
      <dgm:spPr/>
    </dgm:pt>
    <dgm:pt modelId="{EF79040D-744E-49A2-928E-70CCB667CD39}" type="pres">
      <dgm:prSet presAssocID="{3A1ADE3F-6AE4-4226-A2A3-DE15283DC8D3}" presName="desTx" presStyleLbl="alignAccFollowNode1" presStyleIdx="0" presStyleCnt="4">
        <dgm:presLayoutVars>
          <dgm:bulletEnabled val="1"/>
        </dgm:presLayoutVars>
      </dgm:prSet>
      <dgm:spPr/>
    </dgm:pt>
    <dgm:pt modelId="{1A33C007-43B6-4EFB-87AA-0164E03B4844}" type="pres">
      <dgm:prSet presAssocID="{1AD0CDA4-4764-4B6A-86E5-065C4769E1E9}" presName="space" presStyleCnt="0"/>
      <dgm:spPr/>
    </dgm:pt>
    <dgm:pt modelId="{61FDAD99-677E-4076-8CAF-37B5387E90CC}" type="pres">
      <dgm:prSet presAssocID="{426C962B-8B14-40F3-89B4-38FCBF5D65DC}" presName="composite" presStyleCnt="0"/>
      <dgm:spPr/>
    </dgm:pt>
    <dgm:pt modelId="{36684A3D-D11C-450A-BD38-52C373E0C37D}" type="pres">
      <dgm:prSet presAssocID="{426C962B-8B14-40F3-89B4-38FCBF5D65DC}" presName="parTx" presStyleLbl="alignNode1" presStyleIdx="1" presStyleCnt="4">
        <dgm:presLayoutVars>
          <dgm:chMax val="0"/>
          <dgm:chPref val="0"/>
          <dgm:bulletEnabled val="1"/>
        </dgm:presLayoutVars>
      </dgm:prSet>
      <dgm:spPr/>
    </dgm:pt>
    <dgm:pt modelId="{8FB4F2AD-83B5-4CCA-B1E3-259723B47999}" type="pres">
      <dgm:prSet presAssocID="{426C962B-8B14-40F3-89B4-38FCBF5D65DC}" presName="desTx" presStyleLbl="alignAccFollowNode1" presStyleIdx="1" presStyleCnt="4">
        <dgm:presLayoutVars>
          <dgm:bulletEnabled val="1"/>
        </dgm:presLayoutVars>
      </dgm:prSet>
      <dgm:spPr/>
    </dgm:pt>
    <dgm:pt modelId="{2847F3B1-A599-4A42-BF40-05CB86212049}" type="pres">
      <dgm:prSet presAssocID="{02A2ECDE-6E3E-4A95-9052-59EC2D020034}" presName="space" presStyleCnt="0"/>
      <dgm:spPr/>
    </dgm:pt>
    <dgm:pt modelId="{20F1D0D9-A8D2-46CD-8BFE-0B8489D14840}" type="pres">
      <dgm:prSet presAssocID="{EDB08E14-A161-4258-A799-68F24D435783}" presName="composite" presStyleCnt="0"/>
      <dgm:spPr/>
    </dgm:pt>
    <dgm:pt modelId="{876DB11E-6969-44AB-B915-A43928B739C9}" type="pres">
      <dgm:prSet presAssocID="{EDB08E14-A161-4258-A799-68F24D435783}" presName="parTx" presStyleLbl="alignNode1" presStyleIdx="2" presStyleCnt="4">
        <dgm:presLayoutVars>
          <dgm:chMax val="0"/>
          <dgm:chPref val="0"/>
          <dgm:bulletEnabled val="1"/>
        </dgm:presLayoutVars>
      </dgm:prSet>
      <dgm:spPr/>
    </dgm:pt>
    <dgm:pt modelId="{B7479E8C-C30A-4AA2-9866-9A2DDC5DCDEA}" type="pres">
      <dgm:prSet presAssocID="{EDB08E14-A161-4258-A799-68F24D435783}" presName="desTx" presStyleLbl="alignAccFollowNode1" presStyleIdx="2" presStyleCnt="4">
        <dgm:presLayoutVars>
          <dgm:bulletEnabled val="1"/>
        </dgm:presLayoutVars>
      </dgm:prSet>
      <dgm:spPr/>
    </dgm:pt>
    <dgm:pt modelId="{D4159B72-F1D7-4A44-AE8F-072088FE00D6}" type="pres">
      <dgm:prSet presAssocID="{9C1A5748-78AE-4139-AC44-2FA75B113B57}" presName="space" presStyleCnt="0"/>
      <dgm:spPr/>
    </dgm:pt>
    <dgm:pt modelId="{4A833069-4C83-4095-A43A-FCE0A9CF9B7A}" type="pres">
      <dgm:prSet presAssocID="{14983D7E-490E-48BA-8693-1700F8D0B18F}" presName="composite" presStyleCnt="0"/>
      <dgm:spPr/>
    </dgm:pt>
    <dgm:pt modelId="{FE477B7E-9F15-4BFA-B572-CB2DEA0BEBC4}" type="pres">
      <dgm:prSet presAssocID="{14983D7E-490E-48BA-8693-1700F8D0B18F}" presName="parTx" presStyleLbl="alignNode1" presStyleIdx="3" presStyleCnt="4">
        <dgm:presLayoutVars>
          <dgm:chMax val="0"/>
          <dgm:chPref val="0"/>
          <dgm:bulletEnabled val="1"/>
        </dgm:presLayoutVars>
      </dgm:prSet>
      <dgm:spPr/>
    </dgm:pt>
    <dgm:pt modelId="{E2D9DB63-1596-41D5-A457-917848704257}" type="pres">
      <dgm:prSet presAssocID="{14983D7E-490E-48BA-8693-1700F8D0B18F}" presName="desTx" presStyleLbl="alignAccFollowNode1" presStyleIdx="3" presStyleCnt="4">
        <dgm:presLayoutVars>
          <dgm:bulletEnabled val="1"/>
        </dgm:presLayoutVars>
      </dgm:prSet>
      <dgm:spPr/>
    </dgm:pt>
  </dgm:ptLst>
  <dgm:cxnLst>
    <dgm:cxn modelId="{0EC30D0A-C7B0-413C-8B24-0655931C5B1B}" type="presOf" srcId="{4B5832BF-60B4-4E2C-99AC-BFD6D4B10515}" destId="{8FB4F2AD-83B5-4CCA-B1E3-259723B47999}" srcOrd="0" destOrd="0" presId="urn:microsoft.com/office/officeart/2005/8/layout/hList1"/>
    <dgm:cxn modelId="{C5958710-3C55-417C-8E69-9FF3843891BB}" type="presOf" srcId="{EDB08E14-A161-4258-A799-68F24D435783}" destId="{876DB11E-6969-44AB-B915-A43928B739C9}" srcOrd="0" destOrd="0" presId="urn:microsoft.com/office/officeart/2005/8/layout/hList1"/>
    <dgm:cxn modelId="{3B347C16-0B74-440B-B44E-B987245D2B01}" type="presOf" srcId="{14983D7E-490E-48BA-8693-1700F8D0B18F}" destId="{FE477B7E-9F15-4BFA-B572-CB2DEA0BEBC4}" srcOrd="0" destOrd="0" presId="urn:microsoft.com/office/officeart/2005/8/layout/hList1"/>
    <dgm:cxn modelId="{A3CDEF19-6A08-4169-B47B-764D00D856C5}" srcId="{EDB08E14-A161-4258-A799-68F24D435783}" destId="{A518CB49-DD99-42B4-A7FE-82D48AEE84C7}" srcOrd="1" destOrd="0" parTransId="{74394916-A4F6-48C2-A108-CB1B1D9BCDD4}" sibTransId="{AEA9807F-F7F6-44B2-90EB-969B9CC3282B}"/>
    <dgm:cxn modelId="{3CAB5D21-5633-4FE8-B71E-F0B7788C895D}" srcId="{3A1ADE3F-6AE4-4226-A2A3-DE15283DC8D3}" destId="{F22D09AC-FC5B-49DE-8142-74821AC18C31}" srcOrd="2" destOrd="0" parTransId="{A7835E78-2CCB-4E61-89E8-84A9180375E6}" sibTransId="{7E69E290-451C-485F-B62D-9FBCF1087E87}"/>
    <dgm:cxn modelId="{FF724421-5141-437D-AC9C-1383B1C9E91B}" srcId="{9529D96D-C5B0-47CB-9ADB-8D5F70F1B5E0}" destId="{EDB08E14-A161-4258-A799-68F24D435783}" srcOrd="2" destOrd="0" parTransId="{4DD43CE9-4C52-438F-A0F5-ACA6CD665ACC}" sibTransId="{9C1A5748-78AE-4139-AC44-2FA75B113B57}"/>
    <dgm:cxn modelId="{4843BE26-AD5B-4835-8461-F24DF7827EDA}" type="presOf" srcId="{95143E43-3F82-45ED-A628-08461DE7C632}" destId="{B7479E8C-C30A-4AA2-9866-9A2DDC5DCDEA}" srcOrd="0" destOrd="4" presId="urn:microsoft.com/office/officeart/2005/8/layout/hList1"/>
    <dgm:cxn modelId="{2A891C28-26AA-450D-B589-6CBB5E12F43B}" type="presOf" srcId="{98786F46-77C1-40BA-A4FA-E4D11B0CC42B}" destId="{EF79040D-744E-49A2-928E-70CCB667CD39}" srcOrd="0" destOrd="3" presId="urn:microsoft.com/office/officeart/2005/8/layout/hList1"/>
    <dgm:cxn modelId="{C634EB2C-0A71-4328-B3EC-D079E4BE07AE}" srcId="{EDB08E14-A161-4258-A799-68F24D435783}" destId="{E99D571C-D9DD-47BD-8A04-032E0EFFDB79}" srcOrd="0" destOrd="0" parTransId="{2E6EC7A0-A9CC-446B-9497-9339E96E7CE3}" sibTransId="{0E8FF72D-306D-4925-9B43-EA51154447B9}"/>
    <dgm:cxn modelId="{340DD15C-B48F-4C44-88F8-BFBA18892A14}" type="presOf" srcId="{AE8F7FBA-846C-4B45-A027-217D3E8F1B9C}" destId="{E2D9DB63-1596-41D5-A457-917848704257}" srcOrd="0" destOrd="2" presId="urn:microsoft.com/office/officeart/2005/8/layout/hList1"/>
    <dgm:cxn modelId="{6D39C367-9C02-4ED5-BA50-4601E0E2B214}" srcId="{426C962B-8B14-40F3-89B4-38FCBF5D65DC}" destId="{4B5832BF-60B4-4E2C-99AC-BFD6D4B10515}" srcOrd="0" destOrd="0" parTransId="{B1F91C21-706F-4D80-B594-7FA83B4C0C67}" sibTransId="{12D9AF33-306C-4112-8FE0-6B6342067C15}"/>
    <dgm:cxn modelId="{50FFF668-8BD7-4002-89D5-0974D88D527A}" srcId="{3A1ADE3F-6AE4-4226-A2A3-DE15283DC8D3}" destId="{98786F46-77C1-40BA-A4FA-E4D11B0CC42B}" srcOrd="3" destOrd="0" parTransId="{DCF188FB-93E4-4E22-931A-BF0BD86A3B72}" sibTransId="{F51640C2-54F7-4BB8-BBB2-5B56F92C45F7}"/>
    <dgm:cxn modelId="{BCBB6B49-97E1-4BE3-B428-4349508A23CB}" type="presOf" srcId="{E99D571C-D9DD-47BD-8A04-032E0EFFDB79}" destId="{B7479E8C-C30A-4AA2-9866-9A2DDC5DCDEA}" srcOrd="0" destOrd="0" presId="urn:microsoft.com/office/officeart/2005/8/layout/hList1"/>
    <dgm:cxn modelId="{4AA58349-2A30-4A1C-A91D-416AC565ECE2}" srcId="{14983D7E-490E-48BA-8693-1700F8D0B18F}" destId="{A95E6924-CDB6-4CE9-836C-E813E33553C7}" srcOrd="1" destOrd="0" parTransId="{E4198B8A-E648-404C-BD7B-02D4A615D4AE}" sibTransId="{DE64D511-9088-4776-91EB-ACB17CE4BA85}"/>
    <dgm:cxn modelId="{7894DC4C-410A-4954-997E-EE5BC5AEE6A3}" srcId="{EDB08E14-A161-4258-A799-68F24D435783}" destId="{95143E43-3F82-45ED-A628-08461DE7C632}" srcOrd="4" destOrd="0" parTransId="{F8D3B3CD-9703-4E35-8526-731A46E4366D}" sibTransId="{C7F02478-E5F9-4884-85FC-5EF2752470B3}"/>
    <dgm:cxn modelId="{D654706E-3F43-4471-A0A1-D5F2484BB8E8}" type="presOf" srcId="{9529D96D-C5B0-47CB-9ADB-8D5F70F1B5E0}" destId="{5916D303-A936-451F-8322-85035E99F11B}" srcOrd="0" destOrd="0" presId="urn:microsoft.com/office/officeart/2005/8/layout/hList1"/>
    <dgm:cxn modelId="{C227B970-3DB2-4FD2-AB33-4CC374F21690}" srcId="{9529D96D-C5B0-47CB-9ADB-8D5F70F1B5E0}" destId="{14983D7E-490E-48BA-8693-1700F8D0B18F}" srcOrd="3" destOrd="0" parTransId="{9D963BC1-E3AC-4A01-AAA2-A654C4790F1A}" sibTransId="{A2365301-77C4-43D1-9335-7A08C4633C64}"/>
    <dgm:cxn modelId="{75D8FD50-D693-40A7-BEF6-6141B0BA8195}" type="presOf" srcId="{DF7F9B89-9B08-48EE-90A5-B79EE2CF42DF}" destId="{E2D9DB63-1596-41D5-A457-917848704257}" srcOrd="0" destOrd="3" presId="urn:microsoft.com/office/officeart/2005/8/layout/hList1"/>
    <dgm:cxn modelId="{89A14D58-93EF-4D84-9715-3FAC0761827E}" type="presOf" srcId="{3A1ADE3F-6AE4-4226-A2A3-DE15283DC8D3}" destId="{40495F20-6E79-4B24-B28A-CE13354A7FFF}" srcOrd="0" destOrd="0" presId="urn:microsoft.com/office/officeart/2005/8/layout/hList1"/>
    <dgm:cxn modelId="{D60CE65A-57D9-4753-8453-A470CC9D62E8}" srcId="{3A1ADE3F-6AE4-4226-A2A3-DE15283DC8D3}" destId="{95CA6FE9-8B53-4D95-84B2-5E38059CF952}" srcOrd="1" destOrd="0" parTransId="{04F8EA0A-8D1F-4D3E-8A3D-5A4EABA4D2FA}" sibTransId="{4AD7285D-8641-4A35-9E8B-DDF3AC453E5C}"/>
    <dgm:cxn modelId="{B4DD2E7C-17B1-4D8A-A000-A3048D971A08}" type="presOf" srcId="{4B35C7D4-4EDA-445F-9323-D51B6E646388}" destId="{B7479E8C-C30A-4AA2-9866-9A2DDC5DCDEA}" srcOrd="0" destOrd="3" presId="urn:microsoft.com/office/officeart/2005/8/layout/hList1"/>
    <dgm:cxn modelId="{05D34E81-4BC6-4540-93EE-4CDC76D84F27}" srcId="{14983D7E-490E-48BA-8693-1700F8D0B18F}" destId="{AE8F7FBA-846C-4B45-A027-217D3E8F1B9C}" srcOrd="2" destOrd="0" parTransId="{C846E683-F112-499C-A228-C196843B8F53}" sibTransId="{236C3254-BD25-4359-A737-DA3486B29E2F}"/>
    <dgm:cxn modelId="{59A36683-DC43-4A57-8C13-87F875474C3B}" srcId="{14983D7E-490E-48BA-8693-1700F8D0B18F}" destId="{9009CEFD-9C0B-40E8-ABAF-6BEE1888AD85}" srcOrd="0" destOrd="0" parTransId="{D1E817A3-0055-4D37-839D-FB3E314E2E44}" sibTransId="{447627E8-A574-475F-A181-64DA0B4D7450}"/>
    <dgm:cxn modelId="{E4ED30A5-D255-4171-A5CA-70DB6647111E}" type="presOf" srcId="{426C962B-8B14-40F3-89B4-38FCBF5D65DC}" destId="{36684A3D-D11C-450A-BD38-52C373E0C37D}" srcOrd="0" destOrd="0" presId="urn:microsoft.com/office/officeart/2005/8/layout/hList1"/>
    <dgm:cxn modelId="{187C59B8-D6C2-4F8E-9347-99750483E32F}" type="presOf" srcId="{184ACC56-F94E-4B6C-AD8F-B862C05EF544}" destId="{EF79040D-744E-49A2-928E-70CCB667CD39}" srcOrd="0" destOrd="0" presId="urn:microsoft.com/office/officeart/2005/8/layout/hList1"/>
    <dgm:cxn modelId="{61B255BB-67A1-4B77-BB0B-3118C78356EE}" srcId="{9529D96D-C5B0-47CB-9ADB-8D5F70F1B5E0}" destId="{3A1ADE3F-6AE4-4226-A2A3-DE15283DC8D3}" srcOrd="0" destOrd="0" parTransId="{127D5C9D-161E-459B-8647-4815B713E645}" sibTransId="{1AD0CDA4-4764-4B6A-86E5-065C4769E1E9}"/>
    <dgm:cxn modelId="{B6F830BE-53CB-44E8-BF81-F3A6E150D4B6}" type="presOf" srcId="{95CA6FE9-8B53-4D95-84B2-5E38059CF952}" destId="{EF79040D-744E-49A2-928E-70CCB667CD39}" srcOrd="0" destOrd="1" presId="urn:microsoft.com/office/officeart/2005/8/layout/hList1"/>
    <dgm:cxn modelId="{5A0FD5C6-6D44-4F0F-A4A9-44CFDD43915C}" type="presOf" srcId="{A95E6924-CDB6-4CE9-836C-E813E33553C7}" destId="{E2D9DB63-1596-41D5-A457-917848704257}" srcOrd="0" destOrd="1" presId="urn:microsoft.com/office/officeart/2005/8/layout/hList1"/>
    <dgm:cxn modelId="{A6F3E0CF-349A-4CF1-98EF-D750DE057E43}" srcId="{9529D96D-C5B0-47CB-9ADB-8D5F70F1B5E0}" destId="{426C962B-8B14-40F3-89B4-38FCBF5D65DC}" srcOrd="1" destOrd="0" parTransId="{AB82AD76-8B71-47DC-B8A6-80751CE506B5}" sibTransId="{02A2ECDE-6E3E-4A95-9052-59EC2D020034}"/>
    <dgm:cxn modelId="{81DCE0D0-977D-4F4E-B24D-EA822B61B623}" type="presOf" srcId="{A518CB49-DD99-42B4-A7FE-82D48AEE84C7}" destId="{B7479E8C-C30A-4AA2-9866-9A2DDC5DCDEA}" srcOrd="0" destOrd="1" presId="urn:microsoft.com/office/officeart/2005/8/layout/hList1"/>
    <dgm:cxn modelId="{0B7242DD-4A8E-4496-9145-9430C620DF5B}" srcId="{3A1ADE3F-6AE4-4226-A2A3-DE15283DC8D3}" destId="{184ACC56-F94E-4B6C-AD8F-B862C05EF544}" srcOrd="0" destOrd="0" parTransId="{6F31F58C-7286-430C-A814-4F37789E39D1}" sibTransId="{2B3E4DA7-6DA8-4DE1-B871-CCB6EBD3655E}"/>
    <dgm:cxn modelId="{7F0DA1DF-F980-4885-A254-49CAB70D0D20}" type="presOf" srcId="{F22D09AC-FC5B-49DE-8142-74821AC18C31}" destId="{EF79040D-744E-49A2-928E-70CCB667CD39}" srcOrd="0" destOrd="2" presId="urn:microsoft.com/office/officeart/2005/8/layout/hList1"/>
    <dgm:cxn modelId="{213724EC-B558-4548-ADA2-9BF5F38E1F88}" type="presOf" srcId="{97AB9A54-05F6-46EA-8D92-01934F888988}" destId="{B7479E8C-C30A-4AA2-9866-9A2DDC5DCDEA}" srcOrd="0" destOrd="2" presId="urn:microsoft.com/office/officeart/2005/8/layout/hList1"/>
    <dgm:cxn modelId="{1B0F4BEF-3C10-4FC1-8A52-7BCAB84BCC84}" srcId="{14983D7E-490E-48BA-8693-1700F8D0B18F}" destId="{DF7F9B89-9B08-48EE-90A5-B79EE2CF42DF}" srcOrd="3" destOrd="0" parTransId="{44D611F9-A442-4755-B8AC-5CDA24EA26CC}" sibTransId="{B6B0BD9C-C468-4B2D-A3C0-744461D6BE04}"/>
    <dgm:cxn modelId="{23C6C1F6-B84C-4009-AB06-849F80970883}" srcId="{EDB08E14-A161-4258-A799-68F24D435783}" destId="{4B35C7D4-4EDA-445F-9323-D51B6E646388}" srcOrd="3" destOrd="0" parTransId="{73E79D41-30CE-49AF-A632-53E5D9D9C970}" sibTransId="{BA5F7B01-5843-48C9-B326-5B2F48EE4F32}"/>
    <dgm:cxn modelId="{FE89AFF7-C7F9-4AAC-9BFA-857E141F4951}" srcId="{EDB08E14-A161-4258-A799-68F24D435783}" destId="{97AB9A54-05F6-46EA-8D92-01934F888988}" srcOrd="2" destOrd="0" parTransId="{D3F0A300-DB7E-4888-B526-F2530018FE03}" sibTransId="{027D9DDB-70F4-4281-839B-79C375DF6042}"/>
    <dgm:cxn modelId="{52582BFE-7807-42FC-807D-4F57490D3363}" type="presOf" srcId="{9009CEFD-9C0B-40E8-ABAF-6BEE1888AD85}" destId="{E2D9DB63-1596-41D5-A457-917848704257}" srcOrd="0" destOrd="0" presId="urn:microsoft.com/office/officeart/2005/8/layout/hList1"/>
    <dgm:cxn modelId="{DB5A2829-4A78-457A-B8EC-6A9AB51E8FED}" type="presParOf" srcId="{5916D303-A936-451F-8322-85035E99F11B}" destId="{EB55AFF4-A628-4BCF-8202-99163B66D3E2}" srcOrd="0" destOrd="0" presId="urn:microsoft.com/office/officeart/2005/8/layout/hList1"/>
    <dgm:cxn modelId="{AB785D27-23D9-456C-999F-500988E6CBDA}" type="presParOf" srcId="{EB55AFF4-A628-4BCF-8202-99163B66D3E2}" destId="{40495F20-6E79-4B24-B28A-CE13354A7FFF}" srcOrd="0" destOrd="0" presId="urn:microsoft.com/office/officeart/2005/8/layout/hList1"/>
    <dgm:cxn modelId="{B69243CE-DF55-4364-B38B-0DF9BFEF38F7}" type="presParOf" srcId="{EB55AFF4-A628-4BCF-8202-99163B66D3E2}" destId="{EF79040D-744E-49A2-928E-70CCB667CD39}" srcOrd="1" destOrd="0" presId="urn:microsoft.com/office/officeart/2005/8/layout/hList1"/>
    <dgm:cxn modelId="{53A99AB4-AB9B-4E08-BCF2-2F81F721B6AB}" type="presParOf" srcId="{5916D303-A936-451F-8322-85035E99F11B}" destId="{1A33C007-43B6-4EFB-87AA-0164E03B4844}" srcOrd="1" destOrd="0" presId="urn:microsoft.com/office/officeart/2005/8/layout/hList1"/>
    <dgm:cxn modelId="{4A62438F-3F2B-4F4C-BE16-ABA19174FA3C}" type="presParOf" srcId="{5916D303-A936-451F-8322-85035E99F11B}" destId="{61FDAD99-677E-4076-8CAF-37B5387E90CC}" srcOrd="2" destOrd="0" presId="urn:microsoft.com/office/officeart/2005/8/layout/hList1"/>
    <dgm:cxn modelId="{F53EBC86-272D-413F-B97C-7F7C32B18482}" type="presParOf" srcId="{61FDAD99-677E-4076-8CAF-37B5387E90CC}" destId="{36684A3D-D11C-450A-BD38-52C373E0C37D}" srcOrd="0" destOrd="0" presId="urn:microsoft.com/office/officeart/2005/8/layout/hList1"/>
    <dgm:cxn modelId="{39CE8D95-95AD-404E-9809-2FF3CE308E1A}" type="presParOf" srcId="{61FDAD99-677E-4076-8CAF-37B5387E90CC}" destId="{8FB4F2AD-83B5-4CCA-B1E3-259723B47999}" srcOrd="1" destOrd="0" presId="urn:microsoft.com/office/officeart/2005/8/layout/hList1"/>
    <dgm:cxn modelId="{960B378A-1FBC-46A8-AFFB-69D49772327B}" type="presParOf" srcId="{5916D303-A936-451F-8322-85035E99F11B}" destId="{2847F3B1-A599-4A42-BF40-05CB86212049}" srcOrd="3" destOrd="0" presId="urn:microsoft.com/office/officeart/2005/8/layout/hList1"/>
    <dgm:cxn modelId="{B3D78126-9D5A-48EE-B1C8-AFA1ED1608FB}" type="presParOf" srcId="{5916D303-A936-451F-8322-85035E99F11B}" destId="{20F1D0D9-A8D2-46CD-8BFE-0B8489D14840}" srcOrd="4" destOrd="0" presId="urn:microsoft.com/office/officeart/2005/8/layout/hList1"/>
    <dgm:cxn modelId="{CBD2B5DE-DEBB-41F0-91F0-E514F07088DF}" type="presParOf" srcId="{20F1D0D9-A8D2-46CD-8BFE-0B8489D14840}" destId="{876DB11E-6969-44AB-B915-A43928B739C9}" srcOrd="0" destOrd="0" presId="urn:microsoft.com/office/officeart/2005/8/layout/hList1"/>
    <dgm:cxn modelId="{9F019192-1304-43DA-90B6-BEC39541DD1C}" type="presParOf" srcId="{20F1D0D9-A8D2-46CD-8BFE-0B8489D14840}" destId="{B7479E8C-C30A-4AA2-9866-9A2DDC5DCDEA}" srcOrd="1" destOrd="0" presId="urn:microsoft.com/office/officeart/2005/8/layout/hList1"/>
    <dgm:cxn modelId="{500A5D4D-94A9-4D6D-9BD3-0B027D1CF906}" type="presParOf" srcId="{5916D303-A936-451F-8322-85035E99F11B}" destId="{D4159B72-F1D7-4A44-AE8F-072088FE00D6}" srcOrd="5" destOrd="0" presId="urn:microsoft.com/office/officeart/2005/8/layout/hList1"/>
    <dgm:cxn modelId="{D4B617B7-3BE5-4F17-A564-735DE05ABB6C}" type="presParOf" srcId="{5916D303-A936-451F-8322-85035E99F11B}" destId="{4A833069-4C83-4095-A43A-FCE0A9CF9B7A}" srcOrd="6" destOrd="0" presId="urn:microsoft.com/office/officeart/2005/8/layout/hList1"/>
    <dgm:cxn modelId="{47B41764-E260-409C-A751-0A2F974BF5EA}" type="presParOf" srcId="{4A833069-4C83-4095-A43A-FCE0A9CF9B7A}" destId="{FE477B7E-9F15-4BFA-B572-CB2DEA0BEBC4}" srcOrd="0" destOrd="0" presId="urn:microsoft.com/office/officeart/2005/8/layout/hList1"/>
    <dgm:cxn modelId="{27B2A49E-DDEB-4626-955A-F52539084A6E}" type="presParOf" srcId="{4A833069-4C83-4095-A43A-FCE0A9CF9B7A}" destId="{E2D9DB63-1596-41D5-A457-91784870425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495F20-6E79-4B24-B28A-CE13354A7FFF}">
      <dsp:nvSpPr>
        <dsp:cNvPr id="0" name=""/>
        <dsp:cNvSpPr/>
      </dsp:nvSpPr>
      <dsp:spPr>
        <a:xfrm>
          <a:off x="4047"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File Server</a:t>
          </a:r>
        </a:p>
      </dsp:txBody>
      <dsp:txXfrm>
        <a:off x="4047" y="43195"/>
        <a:ext cx="2433738" cy="460800"/>
      </dsp:txXfrm>
    </dsp:sp>
    <dsp:sp modelId="{EF79040D-744E-49A2-928E-70CCB667CD39}">
      <dsp:nvSpPr>
        <dsp:cNvPr id="0" name=""/>
        <dsp:cNvSpPr/>
      </dsp:nvSpPr>
      <dsp:spPr>
        <a:xfrm>
          <a:off x="4047"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Users can access their work from any workstation</a:t>
          </a:r>
          <a:endParaRPr lang="en-US" sz="1600" kern="1200" dirty="0"/>
        </a:p>
        <a:p>
          <a:pPr marL="171450" lvl="1" indent="-171450" algn="l" defTabSz="711200">
            <a:lnSpc>
              <a:spcPct val="90000"/>
            </a:lnSpc>
            <a:spcBef>
              <a:spcPct val="0"/>
            </a:spcBef>
            <a:spcAft>
              <a:spcPct val="15000"/>
            </a:spcAft>
            <a:buChar char="•"/>
          </a:pPr>
          <a:r>
            <a:rPr lang="en-US" sz="1600" b="0" i="0" kern="1200" dirty="0"/>
            <a:t>Exchange work with colleagues.</a:t>
          </a:r>
          <a:endParaRPr lang="en-US" sz="1600" kern="1200" dirty="0"/>
        </a:p>
        <a:p>
          <a:pPr marL="171450" lvl="1" indent="-171450" algn="l" defTabSz="711200">
            <a:lnSpc>
              <a:spcPct val="90000"/>
            </a:lnSpc>
            <a:spcBef>
              <a:spcPct val="0"/>
            </a:spcBef>
            <a:spcAft>
              <a:spcPct val="15000"/>
            </a:spcAft>
            <a:buChar char="•"/>
          </a:pPr>
          <a:r>
            <a:rPr lang="en-US" sz="1600" b="0" i="0" kern="1200" dirty="0"/>
            <a:t>Users can easily co-operate on tasks.</a:t>
          </a:r>
          <a:endParaRPr lang="en-US" sz="1600" kern="1200" dirty="0"/>
        </a:p>
        <a:p>
          <a:pPr marL="171450" lvl="1" indent="-171450" algn="l" defTabSz="711200">
            <a:lnSpc>
              <a:spcPct val="90000"/>
            </a:lnSpc>
            <a:spcBef>
              <a:spcPct val="0"/>
            </a:spcBef>
            <a:spcAft>
              <a:spcPct val="15000"/>
            </a:spcAft>
            <a:buChar char="•"/>
          </a:pPr>
          <a:r>
            <a:rPr lang="en-US" sz="1600" b="0" i="0" kern="1200" dirty="0"/>
            <a:t>Backing up is centralized and can be placed under the control of experts</a:t>
          </a:r>
          <a:endParaRPr lang="en-US" sz="1600" kern="1200" dirty="0"/>
        </a:p>
      </dsp:txBody>
      <dsp:txXfrm>
        <a:off x="4047" y="503995"/>
        <a:ext cx="2433738" cy="4676450"/>
      </dsp:txXfrm>
    </dsp:sp>
    <dsp:sp modelId="{36684A3D-D11C-450A-BD38-52C373E0C37D}">
      <dsp:nvSpPr>
        <dsp:cNvPr id="0" name=""/>
        <dsp:cNvSpPr/>
      </dsp:nvSpPr>
      <dsp:spPr>
        <a:xfrm>
          <a:off x="2778509"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Print Server</a:t>
          </a:r>
        </a:p>
      </dsp:txBody>
      <dsp:txXfrm>
        <a:off x="2778509" y="43195"/>
        <a:ext cx="2433738" cy="460800"/>
      </dsp:txXfrm>
    </dsp:sp>
    <dsp:sp modelId="{8FB4F2AD-83B5-4CCA-B1E3-259723B47999}">
      <dsp:nvSpPr>
        <dsp:cNvPr id="0" name=""/>
        <dsp:cNvSpPr/>
      </dsp:nvSpPr>
      <dsp:spPr>
        <a:xfrm>
          <a:off x="2778509"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Printers only need be purchased for the print servers. This results in financial savings.</a:t>
          </a:r>
          <a:br>
            <a:rPr lang="en-US" sz="1600" b="0" i="0" kern="1200" dirty="0"/>
          </a:br>
          <a:r>
            <a:rPr lang="en-US" sz="1600" b="0" i="0" kern="1200" dirty="0"/>
            <a:t>• As there are fewer printers to look after, there is lower maintenance.</a:t>
          </a:r>
          <a:br>
            <a:rPr lang="en-US" sz="1600" b="0" i="0" kern="1200" dirty="0"/>
          </a:br>
          <a:r>
            <a:rPr lang="en-US" sz="1600" b="0" i="0" kern="1200" dirty="0"/>
            <a:t>• As far fewer printers need to be purchased better quality printers with advanced features can</a:t>
          </a:r>
          <a:br>
            <a:rPr lang="en-US" sz="1600" b="0" i="0" kern="1200" dirty="0"/>
          </a:br>
          <a:r>
            <a:rPr lang="en-US" sz="1600" b="0" i="0" kern="1200" dirty="0"/>
            <a:t>be purchased.</a:t>
          </a:r>
          <a:endParaRPr lang="en-US" sz="1600" kern="1200" dirty="0"/>
        </a:p>
      </dsp:txBody>
      <dsp:txXfrm>
        <a:off x="2778509" y="503995"/>
        <a:ext cx="2433738" cy="4676450"/>
      </dsp:txXfrm>
    </dsp:sp>
    <dsp:sp modelId="{876DB11E-6969-44AB-B915-A43928B739C9}">
      <dsp:nvSpPr>
        <dsp:cNvPr id="0" name=""/>
        <dsp:cNvSpPr/>
      </dsp:nvSpPr>
      <dsp:spPr>
        <a:xfrm>
          <a:off x="5552972"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Application Server</a:t>
          </a:r>
        </a:p>
      </dsp:txBody>
      <dsp:txXfrm>
        <a:off x="5552972" y="43195"/>
        <a:ext cx="2433738" cy="460800"/>
      </dsp:txXfrm>
    </dsp:sp>
    <dsp:sp modelId="{B7479E8C-C30A-4AA2-9866-9A2DDC5DCDEA}">
      <dsp:nvSpPr>
        <dsp:cNvPr id="0" name=""/>
        <dsp:cNvSpPr/>
      </dsp:nvSpPr>
      <dsp:spPr>
        <a:xfrm>
          <a:off x="5552972"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Software only needs to be installed on the applications server instead of each workstation.</a:t>
          </a:r>
          <a:endParaRPr lang="en-US" sz="1600" kern="1200" dirty="0"/>
        </a:p>
        <a:p>
          <a:pPr marL="171450" lvl="1" indent="-171450" algn="l" defTabSz="711200">
            <a:lnSpc>
              <a:spcPct val="90000"/>
            </a:lnSpc>
            <a:spcBef>
              <a:spcPct val="0"/>
            </a:spcBef>
            <a:spcAft>
              <a:spcPct val="15000"/>
            </a:spcAft>
            <a:buChar char="•"/>
          </a:pPr>
          <a:r>
            <a:rPr lang="en-US" sz="1600" b="0" i="0" kern="1200" dirty="0"/>
            <a:t>Software is configured in the same way for all.</a:t>
          </a:r>
          <a:endParaRPr lang="en-US" sz="1600" kern="1200" dirty="0"/>
        </a:p>
        <a:p>
          <a:pPr marL="171450" lvl="1" indent="-171450" algn="l" defTabSz="711200">
            <a:lnSpc>
              <a:spcPct val="90000"/>
            </a:lnSpc>
            <a:spcBef>
              <a:spcPct val="0"/>
            </a:spcBef>
            <a:spcAft>
              <a:spcPct val="15000"/>
            </a:spcAft>
            <a:buChar char="•"/>
          </a:pPr>
          <a:r>
            <a:rPr lang="en-US" sz="1600" b="0" i="0" kern="1200" dirty="0"/>
            <a:t>Upgrading only needs to be done on the server.</a:t>
          </a:r>
          <a:endParaRPr lang="en-US" sz="1600" kern="1200" dirty="0"/>
        </a:p>
        <a:p>
          <a:pPr marL="171450" lvl="1" indent="-171450" algn="l" defTabSz="711200">
            <a:lnSpc>
              <a:spcPct val="90000"/>
            </a:lnSpc>
            <a:spcBef>
              <a:spcPct val="0"/>
            </a:spcBef>
            <a:spcAft>
              <a:spcPct val="15000"/>
            </a:spcAft>
            <a:buChar char="•"/>
          </a:pPr>
          <a:r>
            <a:rPr lang="en-US" sz="1600" b="0" i="0" kern="1200" dirty="0"/>
            <a:t>Cost of licensing software for an applications server is less</a:t>
          </a:r>
          <a:endParaRPr lang="en-US" sz="1600" kern="1200" dirty="0"/>
        </a:p>
        <a:p>
          <a:pPr marL="171450" lvl="1" indent="-171450" algn="l" defTabSz="711200">
            <a:lnSpc>
              <a:spcPct val="90000"/>
            </a:lnSpc>
            <a:spcBef>
              <a:spcPct val="0"/>
            </a:spcBef>
            <a:spcAft>
              <a:spcPct val="15000"/>
            </a:spcAft>
            <a:buChar char="•"/>
          </a:pPr>
          <a:r>
            <a:rPr lang="en-US" sz="1600" b="0" i="0" kern="1200" dirty="0"/>
            <a:t>Centralizing simplifies the process of implementing policies. Software policies refer to what software may be installed on computers</a:t>
          </a:r>
          <a:endParaRPr lang="en-US" sz="1600" kern="1200" dirty="0"/>
        </a:p>
      </dsp:txBody>
      <dsp:txXfrm>
        <a:off x="5552972" y="503995"/>
        <a:ext cx="2433738" cy="4676450"/>
      </dsp:txXfrm>
    </dsp:sp>
    <dsp:sp modelId="{FE477B7E-9F15-4BFA-B572-CB2DEA0BEBC4}">
      <dsp:nvSpPr>
        <dsp:cNvPr id="0" name=""/>
        <dsp:cNvSpPr/>
      </dsp:nvSpPr>
      <dsp:spPr>
        <a:xfrm>
          <a:off x="8327434"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Proxy Server</a:t>
          </a:r>
        </a:p>
      </dsp:txBody>
      <dsp:txXfrm>
        <a:off x="8327434" y="43195"/>
        <a:ext cx="2433738" cy="460800"/>
      </dsp:txXfrm>
    </dsp:sp>
    <dsp:sp modelId="{E2D9DB63-1596-41D5-A457-917848704257}">
      <dsp:nvSpPr>
        <dsp:cNvPr id="0" name=""/>
        <dsp:cNvSpPr/>
      </dsp:nvSpPr>
      <dsp:spPr>
        <a:xfrm>
          <a:off x="8327434"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can be configured with </a:t>
          </a:r>
          <a:r>
            <a:rPr lang="en-US" sz="1600" b="1" i="0" kern="1200" dirty="0"/>
            <a:t>firewall </a:t>
          </a:r>
          <a:r>
            <a:rPr lang="en-US" sz="1600" b="0" i="0" kern="1200" dirty="0"/>
            <a:t>software. To protect network from</a:t>
          </a:r>
          <a:br>
            <a:rPr lang="en-US" sz="1600" b="0" i="0" kern="1200" dirty="0"/>
          </a:br>
          <a:r>
            <a:rPr lang="en-US" sz="1600" b="0" i="0" kern="1200" dirty="0"/>
            <a:t>attack.</a:t>
          </a:r>
          <a:endParaRPr lang="en-US" sz="1600" kern="1200" dirty="0"/>
        </a:p>
        <a:p>
          <a:pPr marL="171450" lvl="1" indent="-171450" algn="l" defTabSz="711200">
            <a:lnSpc>
              <a:spcPct val="90000"/>
            </a:lnSpc>
            <a:spcBef>
              <a:spcPct val="0"/>
            </a:spcBef>
            <a:spcAft>
              <a:spcPct val="15000"/>
            </a:spcAft>
            <a:buChar char="•"/>
          </a:pPr>
          <a:r>
            <a:rPr lang="en-US" sz="1600" b="0" i="0" kern="1200" dirty="0"/>
            <a:t>Files can be filtered for computer viruses before being passed on to the network</a:t>
          </a:r>
          <a:endParaRPr lang="en-US" sz="1600" kern="1200" dirty="0"/>
        </a:p>
        <a:p>
          <a:pPr marL="171450" lvl="1" indent="-171450" algn="l" defTabSz="711200">
            <a:lnSpc>
              <a:spcPct val="90000"/>
            </a:lnSpc>
            <a:spcBef>
              <a:spcPct val="0"/>
            </a:spcBef>
            <a:spcAft>
              <a:spcPct val="15000"/>
            </a:spcAft>
            <a:buChar char="•"/>
          </a:pPr>
          <a:r>
            <a:rPr lang="en-US" sz="1600" b="0" i="0" kern="1200" dirty="0"/>
            <a:t>Organizations can control access of users to outside sites.</a:t>
          </a:r>
          <a:endParaRPr lang="en-US" sz="1600" kern="1200" dirty="0"/>
        </a:p>
        <a:p>
          <a:pPr marL="171450" lvl="1" indent="-171450" algn="l" defTabSz="711200">
            <a:lnSpc>
              <a:spcPct val="90000"/>
            </a:lnSpc>
            <a:spcBef>
              <a:spcPct val="0"/>
            </a:spcBef>
            <a:spcAft>
              <a:spcPct val="15000"/>
            </a:spcAft>
            <a:buChar char="•"/>
          </a:pPr>
          <a:r>
            <a:rPr lang="en-US" sz="1600" b="0" i="0" kern="1200" dirty="0"/>
            <a:t>Since there is only one point of communication, there is a large saving on line costs.</a:t>
          </a:r>
          <a:br>
            <a:rPr lang="en-US" sz="1600" kern="1200" dirty="0"/>
          </a:br>
          <a:br>
            <a:rPr lang="en-US" sz="1600" kern="1200" dirty="0"/>
          </a:br>
          <a:endParaRPr lang="en-US" sz="1600" kern="1200" dirty="0"/>
        </a:p>
      </dsp:txBody>
      <dsp:txXfrm>
        <a:off x="8327434" y="503995"/>
        <a:ext cx="2433738" cy="467645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6553BB-3E24-4501-B239-A2252CDB05AC}" type="datetimeFigureOut">
              <a:rPr lang="en-US" smtClean="0"/>
              <a:t>12/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150CA-A6A2-4DD1-9FC7-4566D012DA5D}" type="slidenum">
              <a:rPr lang="en-US" smtClean="0"/>
              <a:t>‹#›</a:t>
            </a:fld>
            <a:endParaRPr lang="en-US"/>
          </a:p>
        </p:txBody>
      </p:sp>
    </p:spTree>
    <p:extLst>
      <p:ext uri="{BB962C8B-B14F-4D97-AF65-F5344CB8AC3E}">
        <p14:creationId xmlns:p14="http://schemas.microsoft.com/office/powerpoint/2010/main" val="942610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lideplayer.com/slide/6359162/"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ICDL Module 1 Basic Concepts of IT Content overview Hardware and software Processing and data Types of computer system Networks (an introduction!) Use. - ppt download (slideplayer.com)</a:t>
            </a: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1</a:t>
            </a:fld>
            <a:endParaRPr lang="en-US"/>
          </a:p>
        </p:txBody>
      </p:sp>
    </p:spTree>
    <p:extLst>
      <p:ext uri="{BB962C8B-B14F-4D97-AF65-F5344CB8AC3E}">
        <p14:creationId xmlns:p14="http://schemas.microsoft.com/office/powerpoint/2010/main" val="1298635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 set of computers connected together so that they can communicate </a:t>
            </a:r>
            <a:r>
              <a:rPr lang="en-US" sz="1200" b="0" i="0" kern="1200" dirty="0" err="1">
                <a:solidFill>
                  <a:schemeClr val="tx1"/>
                </a:solidFill>
                <a:effectLst/>
                <a:latin typeface="+mn-lt"/>
                <a:ea typeface="+mn-ea"/>
                <a:cs typeface="+mn-cs"/>
              </a:rPr>
              <a:t>iscalled</a:t>
            </a:r>
            <a:r>
              <a:rPr lang="en-US" sz="1200" b="0" i="0" kern="1200" dirty="0">
                <a:solidFill>
                  <a:schemeClr val="tx1"/>
                </a:solidFill>
                <a:effectLst/>
                <a:latin typeface="+mn-lt"/>
                <a:ea typeface="+mn-ea"/>
                <a:cs typeface="+mn-cs"/>
              </a:rPr>
              <a:t> a computer network</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2</a:t>
            </a:fld>
            <a:endParaRPr lang="en-US"/>
          </a:p>
        </p:txBody>
      </p:sp>
    </p:spTree>
    <p:extLst>
      <p:ext uri="{BB962C8B-B14F-4D97-AF65-F5344CB8AC3E}">
        <p14:creationId xmlns:p14="http://schemas.microsoft.com/office/powerpoint/2010/main" val="3289902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er</a:t>
            </a:r>
          </a:p>
          <a:p>
            <a:r>
              <a:rPr lang="en-US" dirty="0"/>
              <a:t>Client / Workstation</a:t>
            </a:r>
          </a:p>
          <a:p>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3</a:t>
            </a:fld>
            <a:endParaRPr lang="en-US"/>
          </a:p>
        </p:txBody>
      </p:sp>
    </p:spTree>
    <p:extLst>
      <p:ext uri="{BB962C8B-B14F-4D97-AF65-F5344CB8AC3E}">
        <p14:creationId xmlns:p14="http://schemas.microsoft.com/office/powerpoint/2010/main" val="1739012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N is a group of computers within the same building, or within a group of buildings that are in close proximity, that are connected together.</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4</a:t>
            </a:fld>
            <a:endParaRPr lang="en-US"/>
          </a:p>
        </p:txBody>
      </p:sp>
    </p:spTree>
    <p:extLst>
      <p:ext uri="{BB962C8B-B14F-4D97-AF65-F5344CB8AC3E}">
        <p14:creationId xmlns:p14="http://schemas.microsoft.com/office/powerpoint/2010/main" val="1534425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roup of widely dispersed computers that are connected together. These could be across the same town, or across a country or even across the worl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part from distance, the other feature that distinguishes as WAN from a LAN is that the WAN would make use of a range of communication technologies such as telephone, microwave and satellite links.</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5</a:t>
            </a:fld>
            <a:endParaRPr lang="en-US"/>
          </a:p>
        </p:txBody>
      </p:sp>
    </p:spTree>
    <p:extLst>
      <p:ext uri="{BB962C8B-B14F-4D97-AF65-F5344CB8AC3E}">
        <p14:creationId xmlns:p14="http://schemas.microsoft.com/office/powerpoint/2010/main" val="2376723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Internet in 1969, </a:t>
            </a:r>
          </a:p>
          <a:p>
            <a:r>
              <a:rPr lang="en-US" sz="1200" b="1" i="0" kern="1200" dirty="0">
                <a:solidFill>
                  <a:schemeClr val="tx1"/>
                </a:solidFill>
                <a:effectLst/>
                <a:latin typeface="+mn-lt"/>
                <a:ea typeface="+mn-ea"/>
                <a:cs typeface="+mn-cs"/>
              </a:rPr>
              <a:t>January 1, 1983</a:t>
            </a: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7</a:t>
            </a:fld>
            <a:endParaRPr lang="en-US"/>
          </a:p>
        </p:txBody>
      </p:sp>
    </p:spTree>
    <p:extLst>
      <p:ext uri="{BB962C8B-B14F-4D97-AF65-F5344CB8AC3E}">
        <p14:creationId xmlns:p14="http://schemas.microsoft.com/office/powerpoint/2010/main" val="3216419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1</a:t>
            </a:r>
          </a:p>
        </p:txBody>
      </p:sp>
      <p:sp>
        <p:nvSpPr>
          <p:cNvPr id="4" name="Slide Number Placeholder 3"/>
          <p:cNvSpPr>
            <a:spLocks noGrp="1"/>
          </p:cNvSpPr>
          <p:nvPr>
            <p:ph type="sldNum" sz="quarter" idx="5"/>
          </p:nvPr>
        </p:nvSpPr>
        <p:spPr/>
        <p:txBody>
          <a:bodyPr/>
          <a:lstStyle/>
          <a:p>
            <a:fld id="{204150CA-A6A2-4DD1-9FC7-4566D012DA5D}" type="slidenum">
              <a:rPr lang="en-US" smtClean="0"/>
              <a:t>9</a:t>
            </a:fld>
            <a:endParaRPr lang="en-US"/>
          </a:p>
        </p:txBody>
      </p:sp>
    </p:spTree>
    <p:extLst>
      <p:ext uri="{BB962C8B-B14F-4D97-AF65-F5344CB8AC3E}">
        <p14:creationId xmlns:p14="http://schemas.microsoft.com/office/powerpoint/2010/main" val="3954264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12</a:t>
            </a:fld>
            <a:endParaRPr lang="en-US"/>
          </a:p>
        </p:txBody>
      </p:sp>
    </p:spTree>
    <p:extLst>
      <p:ext uri="{BB962C8B-B14F-4D97-AF65-F5344CB8AC3E}">
        <p14:creationId xmlns:p14="http://schemas.microsoft.com/office/powerpoint/2010/main" val="791843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B670F-B789-4117-9FF2-279AC8958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1D066C-9EBA-4A5C-ABD6-76A7379BC5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B1759C5-B344-42A4-A907-664543A51AA2}"/>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7DD86E64-90AC-42DE-ADF0-FB87FD523D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7C2558-2913-4398-8A90-5E4EE469C56D}"/>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295498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DA623-2725-4156-8B60-03B162984D3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E6C2A0-04ED-49B5-9C79-DBAD4D2201C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931B7-480F-4AAF-ABCF-9892F4B49D3C}"/>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090F23C4-2E18-4336-970B-E26B0DF396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4C2B1E-D358-46F1-B732-F2E20EE4C0FB}"/>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020700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37630B-0B2D-4186-8F4E-7E1FCC1DFE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F6A496-F93A-4349-AC25-99BC072C0D5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3DEF65-7A0E-4150-ABBD-10D4784CFC7C}"/>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6E94BCD3-FF52-4B7B-9598-FF47A0A48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799E5A-0D60-4A79-A3F4-56F331F9E251}"/>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853009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C387E-2FFA-44BE-B0F5-A742916E24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6C4C33-9503-4257-A99C-3C3B59074B1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B7DB4A-72B6-411F-AFE8-6A0AF13C6485}"/>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DC087FEC-47D0-4EFF-88A3-B3B8F0E3C6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A20E56-2CE3-45D2-BA37-EDD76C20BC7D}"/>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87631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73EC8-635C-4419-90BF-D6D42027CC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7A6696-3555-4780-8A97-49FF887FFE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936AA7-001E-4DE4-97F3-17519F733F98}"/>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813CEAA1-C21D-437C-A55F-0916E8FA9D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B54F45-48BA-4E58-A58F-CAA90D8CDDA2}"/>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455077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493A3-ACB8-4A9D-B570-EA33E3DFD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2A5B4-3BBD-4C34-9289-B3CEBB14A12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FFC2512-71EA-4F78-AC8D-FC8CFC9E671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FCF4AD-10E8-4C87-A02D-48AEF42207D8}"/>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6" name="Footer Placeholder 5">
            <a:extLst>
              <a:ext uri="{FF2B5EF4-FFF2-40B4-BE49-F238E27FC236}">
                <a16:creationId xmlns:a16="http://schemas.microsoft.com/office/drawing/2014/main" id="{3C57AD06-8ABD-48A2-8C1F-E4F515F6A3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A4C178-29C7-4F6D-9A5E-631CC6DAEDDB}"/>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760489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A905E-BAEF-477B-821F-DAB04718E4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E34055-B698-4E6B-8AEC-8B20AA0A78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F758C50-C589-497F-A500-3C680B48B07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B17E26-E5C9-47F7-A495-3BD089DBC1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029AA01-1807-47E4-9C2F-E1450BDA90E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7905D7-A889-4CFB-B101-44D5E1052EEC}"/>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8" name="Footer Placeholder 7">
            <a:extLst>
              <a:ext uri="{FF2B5EF4-FFF2-40B4-BE49-F238E27FC236}">
                <a16:creationId xmlns:a16="http://schemas.microsoft.com/office/drawing/2014/main" id="{10C886E8-5561-461C-9222-217E9E2150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F5F0D4F-EFB0-4644-9C03-EE76D96DACB7}"/>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794340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FF9C-7CC2-4EAF-9BA6-F5943B771E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A32392-E0EA-4678-9270-4AAAC2078F89}"/>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4" name="Footer Placeholder 3">
            <a:extLst>
              <a:ext uri="{FF2B5EF4-FFF2-40B4-BE49-F238E27FC236}">
                <a16:creationId xmlns:a16="http://schemas.microsoft.com/office/drawing/2014/main" id="{3A38EB44-CEFA-4ECC-BF43-1BBD7763F40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028148-55A7-4198-8D52-0054440DC3D0}"/>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4004543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AACE70-8B8B-41EE-A1CB-3F2E323476ED}"/>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3" name="Footer Placeholder 2">
            <a:extLst>
              <a:ext uri="{FF2B5EF4-FFF2-40B4-BE49-F238E27FC236}">
                <a16:creationId xmlns:a16="http://schemas.microsoft.com/office/drawing/2014/main" id="{420DA368-D3A5-4535-9E16-20C45A0C39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C44FC3-6DA2-4A69-AD77-EA3BA10B8F77}"/>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254783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CBE39-7E26-4C06-98A8-847D438DB4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9899F6-2D8A-44DC-B22D-34DA91B25F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BBD376-8C4C-4FF8-A79D-75BFA1966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83DF0BB-1F47-4B2D-876A-D1124A04F2BC}"/>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6" name="Footer Placeholder 5">
            <a:extLst>
              <a:ext uri="{FF2B5EF4-FFF2-40B4-BE49-F238E27FC236}">
                <a16:creationId xmlns:a16="http://schemas.microsoft.com/office/drawing/2014/main" id="{55FC5BCD-4ADA-4CF7-9EE3-AE6CE6F95C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09C18E-C0B4-458F-B468-F3F08DE1C624}"/>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950970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18F3A-48A0-4472-8102-4A88A19B40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F04DC9-DC57-4913-8340-C002655012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A6E928-FB77-4439-A6EE-ADC92CBB80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443DB34-9A5E-470D-A76E-70168BFE9D4F}"/>
              </a:ext>
            </a:extLst>
          </p:cNvPr>
          <p:cNvSpPr>
            <a:spLocks noGrp="1"/>
          </p:cNvSpPr>
          <p:nvPr>
            <p:ph type="dt" sz="half" idx="10"/>
          </p:nvPr>
        </p:nvSpPr>
        <p:spPr/>
        <p:txBody>
          <a:bodyPr/>
          <a:lstStyle/>
          <a:p>
            <a:fld id="{08B58F81-5F69-48E0-91E8-08B8EE4D503E}" type="datetimeFigureOut">
              <a:rPr lang="en-US" smtClean="0"/>
              <a:t>12/18/2022</a:t>
            </a:fld>
            <a:endParaRPr lang="en-US"/>
          </a:p>
        </p:txBody>
      </p:sp>
      <p:sp>
        <p:nvSpPr>
          <p:cNvPr id="6" name="Footer Placeholder 5">
            <a:extLst>
              <a:ext uri="{FF2B5EF4-FFF2-40B4-BE49-F238E27FC236}">
                <a16:creationId xmlns:a16="http://schemas.microsoft.com/office/drawing/2014/main" id="{7B28E73F-CE74-4BE1-B35C-6A6FE9B79B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6E1CED-4A46-4451-9E15-5D0C2E6246B5}"/>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790398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F08959-FB36-4A0C-8DA7-98AB6CD22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E0D6F8-5B72-4D4D-BBFF-DEF736A527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54D74-DE57-45A3-B2FE-A3764B9FEE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B58F81-5F69-48E0-91E8-08B8EE4D503E}" type="datetimeFigureOut">
              <a:rPr lang="en-US" smtClean="0"/>
              <a:t>12/18/2022</a:t>
            </a:fld>
            <a:endParaRPr lang="en-US"/>
          </a:p>
        </p:txBody>
      </p:sp>
      <p:sp>
        <p:nvSpPr>
          <p:cNvPr id="5" name="Footer Placeholder 4">
            <a:extLst>
              <a:ext uri="{FF2B5EF4-FFF2-40B4-BE49-F238E27FC236}">
                <a16:creationId xmlns:a16="http://schemas.microsoft.com/office/drawing/2014/main" id="{4B39DBC4-A8D8-4A79-9AC8-0C303A0D99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922E3A9-A24A-4EC0-818B-1179B0A63C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25F5E2-2F47-4A96-ABD9-8D26218075D9}" type="slidenum">
              <a:rPr lang="en-US" smtClean="0"/>
              <a:t>‹#›</a:t>
            </a:fld>
            <a:endParaRPr lang="en-US"/>
          </a:p>
        </p:txBody>
      </p:sp>
    </p:spTree>
    <p:extLst>
      <p:ext uri="{BB962C8B-B14F-4D97-AF65-F5344CB8AC3E}">
        <p14:creationId xmlns:p14="http://schemas.microsoft.com/office/powerpoint/2010/main" val="313946798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pinterest.com/pin/780670916639009601/"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15927-6821-4975-AF26-17BD10AA044E}"/>
              </a:ext>
            </a:extLst>
          </p:cNvPr>
          <p:cNvSpPr>
            <a:spLocks noGrp="1"/>
          </p:cNvSpPr>
          <p:nvPr>
            <p:ph type="ctrTitle"/>
          </p:nvPr>
        </p:nvSpPr>
        <p:spPr>
          <a:xfrm>
            <a:off x="1416996" y="1251946"/>
            <a:ext cx="9144000" cy="2736393"/>
          </a:xfrm>
        </p:spPr>
        <p:txBody>
          <a:bodyPr>
            <a:normAutofit fontScale="90000"/>
          </a:bodyPr>
          <a:lstStyle/>
          <a:p>
            <a:pPr>
              <a:lnSpc>
                <a:spcPct val="150000"/>
              </a:lnSpc>
            </a:pPr>
            <a:br>
              <a:rPr lang="en-US" dirty="0"/>
            </a:br>
            <a:r>
              <a:rPr lang="en-US" dirty="0"/>
              <a:t>Lecture 4:</a:t>
            </a:r>
            <a:br>
              <a:rPr lang="en-US" dirty="0"/>
            </a:br>
            <a:r>
              <a:rPr lang="en-US" dirty="0"/>
              <a:t>Information Networks</a:t>
            </a:r>
          </a:p>
        </p:txBody>
      </p:sp>
    </p:spTree>
    <p:extLst>
      <p:ext uri="{BB962C8B-B14F-4D97-AF65-F5344CB8AC3E}">
        <p14:creationId xmlns:p14="http://schemas.microsoft.com/office/powerpoint/2010/main" val="2766185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A7108-5237-44C9-AE87-179A7533F342}"/>
              </a:ext>
            </a:extLst>
          </p:cNvPr>
          <p:cNvSpPr>
            <a:spLocks noGrp="1"/>
          </p:cNvSpPr>
          <p:nvPr>
            <p:ph type="title"/>
          </p:nvPr>
        </p:nvSpPr>
        <p:spPr/>
        <p:txBody>
          <a:bodyPr/>
          <a:lstStyle/>
          <a:p>
            <a:r>
              <a:rPr lang="en-US" dirty="0"/>
              <a:t>Analog / digital </a:t>
            </a:r>
          </a:p>
        </p:txBody>
      </p:sp>
      <p:sp>
        <p:nvSpPr>
          <p:cNvPr id="3" name="Content Placeholder 2">
            <a:extLst>
              <a:ext uri="{FF2B5EF4-FFF2-40B4-BE49-F238E27FC236}">
                <a16:creationId xmlns:a16="http://schemas.microsoft.com/office/drawing/2014/main" id="{7FD32190-F8EC-49DB-8B6D-14325108DEBB}"/>
              </a:ext>
            </a:extLst>
          </p:cNvPr>
          <p:cNvSpPr>
            <a:spLocks noGrp="1"/>
          </p:cNvSpPr>
          <p:nvPr>
            <p:ph idx="1"/>
          </p:nvPr>
        </p:nvSpPr>
        <p:spPr>
          <a:xfrm>
            <a:off x="838200" y="1573869"/>
            <a:ext cx="10515600" cy="4351338"/>
          </a:xfrm>
        </p:spPr>
        <p:txBody>
          <a:bodyPr/>
          <a:lstStyle/>
          <a:p>
            <a:r>
              <a:rPr lang="en-US" b="1" dirty="0"/>
              <a:t>Analogue signals </a:t>
            </a:r>
            <a:r>
              <a:rPr lang="en-US" dirty="0"/>
              <a:t>is one which varies continuously as, for example, in ordinary speech </a:t>
            </a:r>
          </a:p>
          <a:p>
            <a:r>
              <a:rPr lang="en-US" b="1" dirty="0"/>
              <a:t>Digital Signals:</a:t>
            </a:r>
            <a:r>
              <a:rPr lang="en-US" dirty="0"/>
              <a:t> are two state signals corresponding to a switch which is on or off. The same two</a:t>
            </a:r>
            <a:br>
              <a:rPr lang="en-US" dirty="0"/>
            </a:br>
            <a:r>
              <a:rPr lang="en-US" dirty="0"/>
              <a:t>state signal can also represent TRUE and FALSE or 1 and 0. </a:t>
            </a:r>
            <a:br>
              <a:rPr lang="en-US" dirty="0"/>
            </a:br>
            <a:br>
              <a:rPr lang="en-US" dirty="0"/>
            </a:br>
            <a:r>
              <a:rPr lang="en-US" dirty="0"/>
              <a:t> </a:t>
            </a:r>
            <a:br>
              <a:rPr lang="en-US" dirty="0"/>
            </a:br>
            <a:endParaRPr lang="en-US" dirty="0"/>
          </a:p>
        </p:txBody>
      </p:sp>
      <p:pic>
        <p:nvPicPr>
          <p:cNvPr id="2050" name="Picture 2" descr="Difference between Analog and Digital Signal - Analog Signals, Digital  Signals and FAQs">
            <a:extLst>
              <a:ext uri="{FF2B5EF4-FFF2-40B4-BE49-F238E27FC236}">
                <a16:creationId xmlns:a16="http://schemas.microsoft.com/office/drawing/2014/main" id="{5E5430C2-EB43-4C9B-9055-6BA05CC247D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125"/>
          <a:stretch/>
        </p:blipFill>
        <p:spPr bwMode="auto">
          <a:xfrm>
            <a:off x="1746356" y="3707579"/>
            <a:ext cx="8443216" cy="3153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249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5070A-F493-40D2-AFF4-77CE8BD09814}"/>
              </a:ext>
            </a:extLst>
          </p:cNvPr>
          <p:cNvSpPr>
            <a:spLocks noGrp="1"/>
          </p:cNvSpPr>
          <p:nvPr>
            <p:ph type="title"/>
          </p:nvPr>
        </p:nvSpPr>
        <p:spPr>
          <a:xfrm>
            <a:off x="898632" y="722476"/>
            <a:ext cx="10765221" cy="1190406"/>
          </a:xfrm>
        </p:spPr>
        <p:txBody>
          <a:bodyPr>
            <a:normAutofit fontScale="90000"/>
          </a:bodyPr>
          <a:lstStyle/>
          <a:p>
            <a:r>
              <a:rPr lang="en-US" sz="2800" dirty="0"/>
              <a:t>A </a:t>
            </a:r>
            <a:r>
              <a:rPr lang="en-US" sz="2800" b="1" dirty="0"/>
              <a:t>modem </a:t>
            </a:r>
            <a:r>
              <a:rPr lang="en-US" sz="2800" dirty="0"/>
              <a:t>or </a:t>
            </a:r>
            <a:r>
              <a:rPr lang="en-US" sz="2800" b="1" dirty="0"/>
              <a:t>modulator-demodulator </a:t>
            </a:r>
            <a:r>
              <a:rPr lang="en-US" sz="2800" dirty="0"/>
              <a:t>is a device connected between a computer and a telephone line. Its function is to convert the digital signals of the computer into a form suitable for transmission over a telephone line. </a:t>
            </a:r>
            <a:br>
              <a:rPr lang="en-US" dirty="0"/>
            </a:br>
            <a:endParaRPr lang="en-US" dirty="0"/>
          </a:p>
        </p:txBody>
      </p:sp>
      <p:pic>
        <p:nvPicPr>
          <p:cNvPr id="3074" name="Picture 2" descr="1 Port Fiber Optical Network Unit 10/100/1000M Fiber Router Modem">
            <a:extLst>
              <a:ext uri="{FF2B5EF4-FFF2-40B4-BE49-F238E27FC236}">
                <a16:creationId xmlns:a16="http://schemas.microsoft.com/office/drawing/2014/main" id="{037B34E1-3DD4-434F-8597-460EA41A0B0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08991" y="1912882"/>
            <a:ext cx="3951890" cy="395189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efinition of Modem and its Types in Computer Networks - misnia.com">
            <a:extLst>
              <a:ext uri="{FF2B5EF4-FFF2-40B4-BE49-F238E27FC236}">
                <a16:creationId xmlns:a16="http://schemas.microsoft.com/office/drawing/2014/main" id="{4CD46F68-F1FF-4C2A-8C5C-C2A225362C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8008" y="1912882"/>
            <a:ext cx="5347855" cy="4056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922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77F44-2845-4873-9F3E-CEDBAA321C8F}"/>
              </a:ext>
            </a:extLst>
          </p:cNvPr>
          <p:cNvSpPr>
            <a:spLocks noGrp="1"/>
          </p:cNvSpPr>
          <p:nvPr>
            <p:ph type="title"/>
          </p:nvPr>
        </p:nvSpPr>
        <p:spPr/>
        <p:txBody>
          <a:bodyPr/>
          <a:lstStyle/>
          <a:p>
            <a:r>
              <a:rPr lang="en-US" b="1" dirty="0"/>
              <a:t>Data Transfer Rates</a:t>
            </a:r>
          </a:p>
        </p:txBody>
      </p:sp>
      <p:sp>
        <p:nvSpPr>
          <p:cNvPr id="3" name="Content Placeholder 2">
            <a:extLst>
              <a:ext uri="{FF2B5EF4-FFF2-40B4-BE49-F238E27FC236}">
                <a16:creationId xmlns:a16="http://schemas.microsoft.com/office/drawing/2014/main" id="{1E9049FF-49BB-4931-9CF7-5258C81A6052}"/>
              </a:ext>
            </a:extLst>
          </p:cNvPr>
          <p:cNvSpPr>
            <a:spLocks noGrp="1"/>
          </p:cNvSpPr>
          <p:nvPr>
            <p:ph idx="1"/>
          </p:nvPr>
        </p:nvSpPr>
        <p:spPr>
          <a:xfrm>
            <a:off x="838200" y="1825625"/>
            <a:ext cx="6061184" cy="4627563"/>
          </a:xfrm>
        </p:spPr>
        <p:txBody>
          <a:bodyPr/>
          <a:lstStyle/>
          <a:p>
            <a:r>
              <a:rPr lang="en-US" dirty="0"/>
              <a:t>speed is measured in kbps or Mbps or Gbps</a:t>
            </a:r>
            <a:br>
              <a:rPr lang="en-US" dirty="0"/>
            </a:br>
            <a:r>
              <a:rPr lang="en-US" dirty="0"/>
              <a:t>1 kbps = 1 000 bps</a:t>
            </a:r>
            <a:br>
              <a:rPr lang="en-US" dirty="0"/>
            </a:br>
            <a:r>
              <a:rPr lang="en-US" dirty="0"/>
              <a:t>1 Mbps = 1 000 000 bps </a:t>
            </a:r>
          </a:p>
          <a:p>
            <a:r>
              <a:rPr lang="en-US" dirty="0"/>
              <a:t>1 Gbps = 1 000 000 000 bps</a:t>
            </a:r>
            <a:br>
              <a:rPr lang="en-US" dirty="0"/>
            </a:br>
            <a:endParaRPr lang="en-US" dirty="0"/>
          </a:p>
        </p:txBody>
      </p:sp>
      <p:pic>
        <p:nvPicPr>
          <p:cNvPr id="4098" name="Picture 2" descr="Internet Speed Expained - What Is A Good Internet Speed?">
            <a:extLst>
              <a:ext uri="{FF2B5EF4-FFF2-40B4-BE49-F238E27FC236}">
                <a16:creationId xmlns:a16="http://schemas.microsoft.com/office/drawing/2014/main" id="{6D167C30-1E22-48A6-91AD-E7CE063AA0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185"/>
          <a:stretch/>
        </p:blipFill>
        <p:spPr bwMode="auto">
          <a:xfrm>
            <a:off x="6899384" y="1690688"/>
            <a:ext cx="4762500" cy="45155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2710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888AB-94A6-4E08-B76A-FAC581C5A179}"/>
              </a:ext>
            </a:extLst>
          </p:cNvPr>
          <p:cNvSpPr>
            <a:spLocks noGrp="1"/>
          </p:cNvSpPr>
          <p:nvPr>
            <p:ph type="title"/>
          </p:nvPr>
        </p:nvSpPr>
        <p:spPr/>
        <p:txBody>
          <a:bodyPr/>
          <a:lstStyle/>
          <a:p>
            <a:r>
              <a:rPr lang="en-US" dirty="0"/>
              <a:t>Networks</a:t>
            </a:r>
          </a:p>
        </p:txBody>
      </p:sp>
      <p:sp>
        <p:nvSpPr>
          <p:cNvPr id="3" name="Content Placeholder 2">
            <a:extLst>
              <a:ext uri="{FF2B5EF4-FFF2-40B4-BE49-F238E27FC236}">
                <a16:creationId xmlns:a16="http://schemas.microsoft.com/office/drawing/2014/main" id="{28B44965-8524-43FF-8688-43BC51F4FB59}"/>
              </a:ext>
            </a:extLst>
          </p:cNvPr>
          <p:cNvSpPr>
            <a:spLocks noGrp="1"/>
          </p:cNvSpPr>
          <p:nvPr>
            <p:ph idx="1"/>
          </p:nvPr>
        </p:nvSpPr>
        <p:spPr>
          <a:xfrm>
            <a:off x="888728" y="4052276"/>
            <a:ext cx="3120957" cy="1560584"/>
          </a:xfrm>
        </p:spPr>
        <p:txBody>
          <a:bodyPr/>
          <a:lstStyle/>
          <a:p>
            <a:r>
              <a:rPr lang="en-US" dirty="0"/>
              <a:t>NIC</a:t>
            </a:r>
          </a:p>
          <a:p>
            <a:r>
              <a:rPr lang="en-US" dirty="0"/>
              <a:t>Hub</a:t>
            </a:r>
          </a:p>
          <a:p>
            <a:r>
              <a:rPr lang="en-US" dirty="0"/>
              <a:t>Protocols (TCP/IP)</a:t>
            </a:r>
          </a:p>
        </p:txBody>
      </p:sp>
      <p:pic>
        <p:nvPicPr>
          <p:cNvPr id="4" name="Picture 3">
            <a:extLst>
              <a:ext uri="{FF2B5EF4-FFF2-40B4-BE49-F238E27FC236}">
                <a16:creationId xmlns:a16="http://schemas.microsoft.com/office/drawing/2014/main" id="{EB18F084-4123-4E87-9ED0-8409861F9355}"/>
              </a:ext>
            </a:extLst>
          </p:cNvPr>
          <p:cNvPicPr>
            <a:picLocks noChangeAspect="1"/>
          </p:cNvPicPr>
          <p:nvPr/>
        </p:nvPicPr>
        <p:blipFill>
          <a:blip r:embed="rId3"/>
          <a:stretch>
            <a:fillRect/>
          </a:stretch>
        </p:blipFill>
        <p:spPr>
          <a:xfrm>
            <a:off x="888728" y="1690688"/>
            <a:ext cx="3802596" cy="2125629"/>
          </a:xfrm>
          <a:prstGeom prst="rect">
            <a:avLst/>
          </a:prstGeom>
        </p:spPr>
      </p:pic>
      <p:pic>
        <p:nvPicPr>
          <p:cNvPr id="1030" name="Picture 6" descr="Network Devices : Hub | Switch | Router | Bridge | Gateway">
            <a:extLst>
              <a:ext uri="{FF2B5EF4-FFF2-40B4-BE49-F238E27FC236}">
                <a16:creationId xmlns:a16="http://schemas.microsoft.com/office/drawing/2014/main" id="{621D55C6-02C8-46F8-9A41-CD7985A107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1324" y="1250514"/>
            <a:ext cx="6947172" cy="43623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9977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266EA-2D1B-4A72-B37F-8E7FDD103DDD}"/>
              </a:ext>
            </a:extLst>
          </p:cNvPr>
          <p:cNvSpPr>
            <a:spLocks noGrp="1"/>
          </p:cNvSpPr>
          <p:nvPr>
            <p:ph type="title"/>
          </p:nvPr>
        </p:nvSpPr>
        <p:spPr/>
        <p:txBody>
          <a:bodyPr/>
          <a:lstStyle/>
          <a:p>
            <a:r>
              <a:rPr lang="en-US" dirty="0"/>
              <a:t>Network</a:t>
            </a:r>
          </a:p>
        </p:txBody>
      </p:sp>
      <p:grpSp>
        <p:nvGrpSpPr>
          <p:cNvPr id="4" name="Network17" descr="{&quot;Key&quot;:&quot;POWER_USER_SHAPE_ICON&quot;,&quot;Value&quot;:&quot;POWER_USER_SHAPE_ICON_STYLE_1&quot;}">
            <a:extLst>
              <a:ext uri="{FF2B5EF4-FFF2-40B4-BE49-F238E27FC236}">
                <a16:creationId xmlns:a16="http://schemas.microsoft.com/office/drawing/2014/main" id="{8AF69D23-D037-4BD1-BF64-386BB0465348}"/>
              </a:ext>
            </a:extLst>
          </p:cNvPr>
          <p:cNvGrpSpPr>
            <a:grpSpLocks noChangeAspect="1"/>
          </p:cNvGrpSpPr>
          <p:nvPr/>
        </p:nvGrpSpPr>
        <p:grpSpPr>
          <a:xfrm>
            <a:off x="1862897" y="2005583"/>
            <a:ext cx="2454288" cy="2255291"/>
            <a:chOff x="5970588" y="790575"/>
            <a:chExt cx="234950" cy="215901"/>
          </a:xfrm>
          <a:solidFill>
            <a:schemeClr val="accent1"/>
          </a:solidFill>
        </p:grpSpPr>
        <p:sp>
          <p:nvSpPr>
            <p:cNvPr id="5" name="Freeform 2936">
              <a:extLst>
                <a:ext uri="{FF2B5EF4-FFF2-40B4-BE49-F238E27FC236}">
                  <a16:creationId xmlns:a16="http://schemas.microsoft.com/office/drawing/2014/main" id="{6EA1F69F-133E-49FB-8656-536B8FD138C2}"/>
                </a:ext>
              </a:extLst>
            </p:cNvPr>
            <p:cNvSpPr>
              <a:spLocks noEditPoints="1"/>
            </p:cNvSpPr>
            <p:nvPr/>
          </p:nvSpPr>
          <p:spPr bwMode="auto">
            <a:xfrm>
              <a:off x="6051551" y="790575"/>
              <a:ext cx="71438" cy="73025"/>
            </a:xfrm>
            <a:custGeom>
              <a:avLst/>
              <a:gdLst>
                <a:gd name="T0" fmla="*/ 200 w 1983"/>
                <a:gd name="T1" fmla="*/ 1784 h 1984"/>
                <a:gd name="T2" fmla="*/ 1783 w 1983"/>
                <a:gd name="T3" fmla="*/ 1784 h 1984"/>
                <a:gd name="T4" fmla="*/ 1783 w 1983"/>
                <a:gd name="T5" fmla="*/ 201 h 1984"/>
                <a:gd name="T6" fmla="*/ 200 w 1983"/>
                <a:gd name="T7" fmla="*/ 201 h 1984"/>
                <a:gd name="T8" fmla="*/ 200 w 1983"/>
                <a:gd name="T9" fmla="*/ 1784 h 1984"/>
                <a:gd name="T10" fmla="*/ 1883 w 1983"/>
                <a:gd name="T11" fmla="*/ 1984 h 1984"/>
                <a:gd name="T12" fmla="*/ 100 w 1983"/>
                <a:gd name="T13" fmla="*/ 1984 h 1984"/>
                <a:gd name="T14" fmla="*/ 0 w 1983"/>
                <a:gd name="T15" fmla="*/ 1884 h 1984"/>
                <a:gd name="T16" fmla="*/ 0 w 1983"/>
                <a:gd name="T17" fmla="*/ 101 h 1984"/>
                <a:gd name="T18" fmla="*/ 100 w 1983"/>
                <a:gd name="T19" fmla="*/ 0 h 1984"/>
                <a:gd name="T20" fmla="*/ 1883 w 1983"/>
                <a:gd name="T21" fmla="*/ 0 h 1984"/>
                <a:gd name="T22" fmla="*/ 1983 w 1983"/>
                <a:gd name="T23" fmla="*/ 101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4"/>
                  </a:moveTo>
                  <a:lnTo>
                    <a:pt x="1783" y="1784"/>
                  </a:lnTo>
                  <a:lnTo>
                    <a:pt x="1783" y="201"/>
                  </a:lnTo>
                  <a:lnTo>
                    <a:pt x="200" y="201"/>
                  </a:lnTo>
                  <a:lnTo>
                    <a:pt x="200" y="1784"/>
                  </a:lnTo>
                  <a:close/>
                  <a:moveTo>
                    <a:pt x="1883" y="1984"/>
                  </a:moveTo>
                  <a:lnTo>
                    <a:pt x="100" y="1984"/>
                  </a:lnTo>
                  <a:cubicBezTo>
                    <a:pt x="44" y="1984"/>
                    <a:pt x="0" y="1939"/>
                    <a:pt x="0" y="1884"/>
                  </a:cubicBezTo>
                  <a:lnTo>
                    <a:pt x="0" y="101"/>
                  </a:lnTo>
                  <a:cubicBezTo>
                    <a:pt x="0" y="45"/>
                    <a:pt x="44" y="0"/>
                    <a:pt x="100" y="0"/>
                  </a:cubicBezTo>
                  <a:lnTo>
                    <a:pt x="1883" y="0"/>
                  </a:lnTo>
                  <a:cubicBezTo>
                    <a:pt x="1938" y="0"/>
                    <a:pt x="1983" y="45"/>
                    <a:pt x="1983" y="101"/>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2937">
              <a:extLst>
                <a:ext uri="{FF2B5EF4-FFF2-40B4-BE49-F238E27FC236}">
                  <a16:creationId xmlns:a16="http://schemas.microsoft.com/office/drawing/2014/main" id="{33E7AAB0-F1E0-41E2-8660-F5A35BE22C3E}"/>
                </a:ext>
              </a:extLst>
            </p:cNvPr>
            <p:cNvSpPr>
              <a:spLocks noEditPoints="1"/>
            </p:cNvSpPr>
            <p:nvPr/>
          </p:nvSpPr>
          <p:spPr bwMode="auto">
            <a:xfrm>
              <a:off x="6051551" y="935038"/>
              <a:ext cx="73025" cy="71438"/>
            </a:xfrm>
            <a:custGeom>
              <a:avLst/>
              <a:gdLst>
                <a:gd name="T0" fmla="*/ 200 w 1984"/>
                <a:gd name="T1" fmla="*/ 1783 h 1984"/>
                <a:gd name="T2" fmla="*/ 1784 w 1984"/>
                <a:gd name="T3" fmla="*/ 1783 h 1984"/>
                <a:gd name="T4" fmla="*/ 1784 w 1984"/>
                <a:gd name="T5" fmla="*/ 200 h 1984"/>
                <a:gd name="T6" fmla="*/ 200 w 1984"/>
                <a:gd name="T7" fmla="*/ 200 h 1984"/>
                <a:gd name="T8" fmla="*/ 200 w 1984"/>
                <a:gd name="T9" fmla="*/ 1783 h 1984"/>
                <a:gd name="T10" fmla="*/ 1884 w 1984"/>
                <a:gd name="T11" fmla="*/ 1984 h 1984"/>
                <a:gd name="T12" fmla="*/ 100 w 1984"/>
                <a:gd name="T13" fmla="*/ 1984 h 1984"/>
                <a:gd name="T14" fmla="*/ 0 w 1984"/>
                <a:gd name="T15" fmla="*/ 1884 h 1984"/>
                <a:gd name="T16" fmla="*/ 0 w 1984"/>
                <a:gd name="T17" fmla="*/ 100 h 1984"/>
                <a:gd name="T18" fmla="*/ 100 w 1984"/>
                <a:gd name="T19" fmla="*/ 0 h 1984"/>
                <a:gd name="T20" fmla="*/ 1884 w 1984"/>
                <a:gd name="T21" fmla="*/ 0 h 1984"/>
                <a:gd name="T22" fmla="*/ 1984 w 1984"/>
                <a:gd name="T23" fmla="*/ 100 h 1984"/>
                <a:gd name="T24" fmla="*/ 1984 w 1984"/>
                <a:gd name="T25" fmla="*/ 1884 h 1984"/>
                <a:gd name="T26" fmla="*/ 1884 w 1984"/>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4" h="1984">
                  <a:moveTo>
                    <a:pt x="200" y="1783"/>
                  </a:moveTo>
                  <a:lnTo>
                    <a:pt x="1784" y="1783"/>
                  </a:lnTo>
                  <a:lnTo>
                    <a:pt x="1784" y="200"/>
                  </a:lnTo>
                  <a:lnTo>
                    <a:pt x="200" y="200"/>
                  </a:lnTo>
                  <a:lnTo>
                    <a:pt x="200" y="1783"/>
                  </a:lnTo>
                  <a:close/>
                  <a:moveTo>
                    <a:pt x="1884" y="1984"/>
                  </a:moveTo>
                  <a:lnTo>
                    <a:pt x="100" y="1984"/>
                  </a:lnTo>
                  <a:cubicBezTo>
                    <a:pt x="45" y="1984"/>
                    <a:pt x="0" y="1939"/>
                    <a:pt x="0" y="1884"/>
                  </a:cubicBezTo>
                  <a:lnTo>
                    <a:pt x="0" y="100"/>
                  </a:lnTo>
                  <a:cubicBezTo>
                    <a:pt x="0" y="45"/>
                    <a:pt x="45" y="0"/>
                    <a:pt x="100" y="0"/>
                  </a:cubicBezTo>
                  <a:lnTo>
                    <a:pt x="1884" y="0"/>
                  </a:lnTo>
                  <a:cubicBezTo>
                    <a:pt x="1939" y="0"/>
                    <a:pt x="1984" y="45"/>
                    <a:pt x="1984" y="100"/>
                  </a:cubicBezTo>
                  <a:lnTo>
                    <a:pt x="1984" y="1884"/>
                  </a:lnTo>
                  <a:cubicBezTo>
                    <a:pt x="1984" y="1939"/>
                    <a:pt x="1939" y="1984"/>
                    <a:pt x="1884"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2938">
              <a:extLst>
                <a:ext uri="{FF2B5EF4-FFF2-40B4-BE49-F238E27FC236}">
                  <a16:creationId xmlns:a16="http://schemas.microsoft.com/office/drawing/2014/main" id="{8CA08997-7708-453D-BE79-31CAA32D5F45}"/>
                </a:ext>
              </a:extLst>
            </p:cNvPr>
            <p:cNvSpPr>
              <a:spLocks noEditPoints="1"/>
            </p:cNvSpPr>
            <p:nvPr/>
          </p:nvSpPr>
          <p:spPr bwMode="auto">
            <a:xfrm>
              <a:off x="5970588" y="935038"/>
              <a:ext cx="73025" cy="71438"/>
            </a:xfrm>
            <a:custGeom>
              <a:avLst/>
              <a:gdLst>
                <a:gd name="T0" fmla="*/ 200 w 1983"/>
                <a:gd name="T1" fmla="*/ 1783 h 1984"/>
                <a:gd name="T2" fmla="*/ 1783 w 1983"/>
                <a:gd name="T3" fmla="*/ 1783 h 1984"/>
                <a:gd name="T4" fmla="*/ 1783 w 1983"/>
                <a:gd name="T5" fmla="*/ 200 h 1984"/>
                <a:gd name="T6" fmla="*/ 200 w 1983"/>
                <a:gd name="T7" fmla="*/ 200 h 1984"/>
                <a:gd name="T8" fmla="*/ 200 w 1983"/>
                <a:gd name="T9" fmla="*/ 1783 h 1984"/>
                <a:gd name="T10" fmla="*/ 1883 w 1983"/>
                <a:gd name="T11" fmla="*/ 1984 h 1984"/>
                <a:gd name="T12" fmla="*/ 100 w 1983"/>
                <a:gd name="T13" fmla="*/ 1984 h 1984"/>
                <a:gd name="T14" fmla="*/ 0 w 1983"/>
                <a:gd name="T15" fmla="*/ 1884 h 1984"/>
                <a:gd name="T16" fmla="*/ 0 w 1983"/>
                <a:gd name="T17" fmla="*/ 100 h 1984"/>
                <a:gd name="T18" fmla="*/ 100 w 1983"/>
                <a:gd name="T19" fmla="*/ 0 h 1984"/>
                <a:gd name="T20" fmla="*/ 1883 w 1983"/>
                <a:gd name="T21" fmla="*/ 0 h 1984"/>
                <a:gd name="T22" fmla="*/ 1983 w 1983"/>
                <a:gd name="T23" fmla="*/ 100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3"/>
                  </a:moveTo>
                  <a:lnTo>
                    <a:pt x="1783" y="1783"/>
                  </a:lnTo>
                  <a:lnTo>
                    <a:pt x="1783" y="200"/>
                  </a:lnTo>
                  <a:lnTo>
                    <a:pt x="200" y="200"/>
                  </a:lnTo>
                  <a:lnTo>
                    <a:pt x="200" y="1783"/>
                  </a:lnTo>
                  <a:close/>
                  <a:moveTo>
                    <a:pt x="1883" y="1984"/>
                  </a:moveTo>
                  <a:lnTo>
                    <a:pt x="100" y="1984"/>
                  </a:lnTo>
                  <a:cubicBezTo>
                    <a:pt x="44" y="1984"/>
                    <a:pt x="0" y="1939"/>
                    <a:pt x="0" y="1884"/>
                  </a:cubicBezTo>
                  <a:lnTo>
                    <a:pt x="0" y="100"/>
                  </a:lnTo>
                  <a:cubicBezTo>
                    <a:pt x="0" y="45"/>
                    <a:pt x="44" y="0"/>
                    <a:pt x="100" y="0"/>
                  </a:cubicBezTo>
                  <a:lnTo>
                    <a:pt x="1883" y="0"/>
                  </a:lnTo>
                  <a:cubicBezTo>
                    <a:pt x="1938" y="0"/>
                    <a:pt x="1983" y="45"/>
                    <a:pt x="1983" y="100"/>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939">
              <a:extLst>
                <a:ext uri="{FF2B5EF4-FFF2-40B4-BE49-F238E27FC236}">
                  <a16:creationId xmlns:a16="http://schemas.microsoft.com/office/drawing/2014/main" id="{E7275ACE-946A-423F-A10F-E994985E7A00}"/>
                </a:ext>
              </a:extLst>
            </p:cNvPr>
            <p:cNvSpPr>
              <a:spLocks noEditPoints="1"/>
            </p:cNvSpPr>
            <p:nvPr/>
          </p:nvSpPr>
          <p:spPr bwMode="auto">
            <a:xfrm>
              <a:off x="6132513" y="935038"/>
              <a:ext cx="73025" cy="71438"/>
            </a:xfrm>
            <a:custGeom>
              <a:avLst/>
              <a:gdLst>
                <a:gd name="T0" fmla="*/ 200 w 1983"/>
                <a:gd name="T1" fmla="*/ 1783 h 1984"/>
                <a:gd name="T2" fmla="*/ 1783 w 1983"/>
                <a:gd name="T3" fmla="*/ 1783 h 1984"/>
                <a:gd name="T4" fmla="*/ 1783 w 1983"/>
                <a:gd name="T5" fmla="*/ 200 h 1984"/>
                <a:gd name="T6" fmla="*/ 200 w 1983"/>
                <a:gd name="T7" fmla="*/ 200 h 1984"/>
                <a:gd name="T8" fmla="*/ 200 w 1983"/>
                <a:gd name="T9" fmla="*/ 1783 h 1984"/>
                <a:gd name="T10" fmla="*/ 1883 w 1983"/>
                <a:gd name="T11" fmla="*/ 1984 h 1984"/>
                <a:gd name="T12" fmla="*/ 100 w 1983"/>
                <a:gd name="T13" fmla="*/ 1984 h 1984"/>
                <a:gd name="T14" fmla="*/ 0 w 1983"/>
                <a:gd name="T15" fmla="*/ 1884 h 1984"/>
                <a:gd name="T16" fmla="*/ 0 w 1983"/>
                <a:gd name="T17" fmla="*/ 100 h 1984"/>
                <a:gd name="T18" fmla="*/ 100 w 1983"/>
                <a:gd name="T19" fmla="*/ 0 h 1984"/>
                <a:gd name="T20" fmla="*/ 1883 w 1983"/>
                <a:gd name="T21" fmla="*/ 0 h 1984"/>
                <a:gd name="T22" fmla="*/ 1983 w 1983"/>
                <a:gd name="T23" fmla="*/ 100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3"/>
                  </a:moveTo>
                  <a:lnTo>
                    <a:pt x="1783" y="1783"/>
                  </a:lnTo>
                  <a:lnTo>
                    <a:pt x="1783" y="200"/>
                  </a:lnTo>
                  <a:lnTo>
                    <a:pt x="200" y="200"/>
                  </a:lnTo>
                  <a:lnTo>
                    <a:pt x="200" y="1783"/>
                  </a:lnTo>
                  <a:close/>
                  <a:moveTo>
                    <a:pt x="1883" y="1984"/>
                  </a:moveTo>
                  <a:lnTo>
                    <a:pt x="100" y="1984"/>
                  </a:lnTo>
                  <a:cubicBezTo>
                    <a:pt x="44" y="1984"/>
                    <a:pt x="0" y="1939"/>
                    <a:pt x="0" y="1884"/>
                  </a:cubicBezTo>
                  <a:lnTo>
                    <a:pt x="0" y="100"/>
                  </a:lnTo>
                  <a:cubicBezTo>
                    <a:pt x="0" y="45"/>
                    <a:pt x="44" y="0"/>
                    <a:pt x="100" y="0"/>
                  </a:cubicBezTo>
                  <a:lnTo>
                    <a:pt x="1883" y="0"/>
                  </a:lnTo>
                  <a:cubicBezTo>
                    <a:pt x="1938" y="0"/>
                    <a:pt x="1983" y="45"/>
                    <a:pt x="1983" y="100"/>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940">
              <a:extLst>
                <a:ext uri="{FF2B5EF4-FFF2-40B4-BE49-F238E27FC236}">
                  <a16:creationId xmlns:a16="http://schemas.microsoft.com/office/drawing/2014/main" id="{6AC39942-7105-439F-B939-1E6E467A047A}"/>
                </a:ext>
              </a:extLst>
            </p:cNvPr>
            <p:cNvSpPr>
              <a:spLocks/>
            </p:cNvSpPr>
            <p:nvPr/>
          </p:nvSpPr>
          <p:spPr bwMode="auto">
            <a:xfrm>
              <a:off x="6083301" y="871538"/>
              <a:ext cx="7938" cy="53975"/>
            </a:xfrm>
            <a:custGeom>
              <a:avLst/>
              <a:gdLst>
                <a:gd name="T0" fmla="*/ 100 w 200"/>
                <a:gd name="T1" fmla="*/ 1449 h 1449"/>
                <a:gd name="T2" fmla="*/ 0 w 200"/>
                <a:gd name="T3" fmla="*/ 1350 h 1449"/>
                <a:gd name="T4" fmla="*/ 0 w 200"/>
                <a:gd name="T5" fmla="*/ 100 h 1449"/>
                <a:gd name="T6" fmla="*/ 100 w 200"/>
                <a:gd name="T7" fmla="*/ 0 h 1449"/>
                <a:gd name="T8" fmla="*/ 200 w 200"/>
                <a:gd name="T9" fmla="*/ 100 h 1449"/>
                <a:gd name="T10" fmla="*/ 200 w 200"/>
                <a:gd name="T11" fmla="*/ 1350 h 1449"/>
                <a:gd name="T12" fmla="*/ 100 w 200"/>
                <a:gd name="T13" fmla="*/ 1449 h 1449"/>
              </a:gdLst>
              <a:ahLst/>
              <a:cxnLst>
                <a:cxn ang="0">
                  <a:pos x="T0" y="T1"/>
                </a:cxn>
                <a:cxn ang="0">
                  <a:pos x="T2" y="T3"/>
                </a:cxn>
                <a:cxn ang="0">
                  <a:pos x="T4" y="T5"/>
                </a:cxn>
                <a:cxn ang="0">
                  <a:pos x="T6" y="T7"/>
                </a:cxn>
                <a:cxn ang="0">
                  <a:pos x="T8" y="T9"/>
                </a:cxn>
                <a:cxn ang="0">
                  <a:pos x="T10" y="T11"/>
                </a:cxn>
                <a:cxn ang="0">
                  <a:pos x="T12" y="T13"/>
                </a:cxn>
              </a:cxnLst>
              <a:rect l="0" t="0" r="r" b="b"/>
              <a:pathLst>
                <a:path w="200" h="1449">
                  <a:moveTo>
                    <a:pt x="100" y="1449"/>
                  </a:moveTo>
                  <a:cubicBezTo>
                    <a:pt x="44" y="1449"/>
                    <a:pt x="0" y="1405"/>
                    <a:pt x="0" y="1350"/>
                  </a:cubicBezTo>
                  <a:lnTo>
                    <a:pt x="0" y="100"/>
                  </a:lnTo>
                  <a:cubicBezTo>
                    <a:pt x="0" y="44"/>
                    <a:pt x="44" y="0"/>
                    <a:pt x="100" y="0"/>
                  </a:cubicBezTo>
                  <a:cubicBezTo>
                    <a:pt x="155" y="0"/>
                    <a:pt x="200" y="44"/>
                    <a:pt x="200" y="100"/>
                  </a:cubicBezTo>
                  <a:lnTo>
                    <a:pt x="200" y="1350"/>
                  </a:lnTo>
                  <a:cubicBezTo>
                    <a:pt x="200" y="1405"/>
                    <a:pt x="155" y="1449"/>
                    <a:pt x="100" y="14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941">
              <a:extLst>
                <a:ext uri="{FF2B5EF4-FFF2-40B4-BE49-F238E27FC236}">
                  <a16:creationId xmlns:a16="http://schemas.microsoft.com/office/drawing/2014/main" id="{C5072E31-F496-4669-82CB-303DCB1AEF60}"/>
                </a:ext>
              </a:extLst>
            </p:cNvPr>
            <p:cNvSpPr>
              <a:spLocks/>
            </p:cNvSpPr>
            <p:nvPr/>
          </p:nvSpPr>
          <p:spPr bwMode="auto">
            <a:xfrm>
              <a:off x="6000751" y="893763"/>
              <a:ext cx="98425" cy="36513"/>
            </a:xfrm>
            <a:custGeom>
              <a:avLst/>
              <a:gdLst>
                <a:gd name="T0" fmla="*/ 100 w 2700"/>
                <a:gd name="T1" fmla="*/ 1016 h 1016"/>
                <a:gd name="T2" fmla="*/ 0 w 2700"/>
                <a:gd name="T3" fmla="*/ 917 h 1016"/>
                <a:gd name="T4" fmla="*/ 0 w 2700"/>
                <a:gd name="T5" fmla="*/ 100 h 1016"/>
                <a:gd name="T6" fmla="*/ 100 w 2700"/>
                <a:gd name="T7" fmla="*/ 0 h 1016"/>
                <a:gd name="T8" fmla="*/ 2600 w 2700"/>
                <a:gd name="T9" fmla="*/ 0 h 1016"/>
                <a:gd name="T10" fmla="*/ 2700 w 2700"/>
                <a:gd name="T11" fmla="*/ 100 h 1016"/>
                <a:gd name="T12" fmla="*/ 2600 w 2700"/>
                <a:gd name="T13" fmla="*/ 200 h 1016"/>
                <a:gd name="T14" fmla="*/ 200 w 2700"/>
                <a:gd name="T15" fmla="*/ 200 h 1016"/>
                <a:gd name="T16" fmla="*/ 200 w 2700"/>
                <a:gd name="T17" fmla="*/ 917 h 1016"/>
                <a:gd name="T18" fmla="*/ 100 w 2700"/>
                <a:gd name="T19" fmla="*/ 101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0" h="1016">
                  <a:moveTo>
                    <a:pt x="100" y="1016"/>
                  </a:moveTo>
                  <a:cubicBezTo>
                    <a:pt x="45" y="1016"/>
                    <a:pt x="0" y="972"/>
                    <a:pt x="0" y="917"/>
                  </a:cubicBezTo>
                  <a:lnTo>
                    <a:pt x="0" y="100"/>
                  </a:lnTo>
                  <a:cubicBezTo>
                    <a:pt x="0" y="45"/>
                    <a:pt x="45" y="0"/>
                    <a:pt x="100" y="0"/>
                  </a:cubicBezTo>
                  <a:lnTo>
                    <a:pt x="2600" y="0"/>
                  </a:lnTo>
                  <a:cubicBezTo>
                    <a:pt x="2655" y="0"/>
                    <a:pt x="2700" y="45"/>
                    <a:pt x="2700" y="100"/>
                  </a:cubicBezTo>
                  <a:cubicBezTo>
                    <a:pt x="2700" y="156"/>
                    <a:pt x="2655" y="200"/>
                    <a:pt x="2600" y="200"/>
                  </a:cubicBezTo>
                  <a:lnTo>
                    <a:pt x="200" y="200"/>
                  </a:lnTo>
                  <a:lnTo>
                    <a:pt x="200" y="917"/>
                  </a:lnTo>
                  <a:cubicBezTo>
                    <a:pt x="200" y="972"/>
                    <a:pt x="155" y="1016"/>
                    <a:pt x="100" y="10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942">
              <a:extLst>
                <a:ext uri="{FF2B5EF4-FFF2-40B4-BE49-F238E27FC236}">
                  <a16:creationId xmlns:a16="http://schemas.microsoft.com/office/drawing/2014/main" id="{6796793C-96BE-4D73-9366-71F885EEEB37}"/>
                </a:ext>
              </a:extLst>
            </p:cNvPr>
            <p:cNvSpPr>
              <a:spLocks/>
            </p:cNvSpPr>
            <p:nvPr/>
          </p:nvSpPr>
          <p:spPr bwMode="auto">
            <a:xfrm>
              <a:off x="6103938" y="892175"/>
              <a:ext cx="66675" cy="33338"/>
            </a:xfrm>
            <a:custGeom>
              <a:avLst/>
              <a:gdLst>
                <a:gd name="T0" fmla="*/ 1767 w 1867"/>
                <a:gd name="T1" fmla="*/ 900 h 900"/>
                <a:gd name="T2" fmla="*/ 1667 w 1867"/>
                <a:gd name="T3" fmla="*/ 801 h 900"/>
                <a:gd name="T4" fmla="*/ 1667 w 1867"/>
                <a:gd name="T5" fmla="*/ 200 h 900"/>
                <a:gd name="T6" fmla="*/ 100 w 1867"/>
                <a:gd name="T7" fmla="*/ 200 h 900"/>
                <a:gd name="T8" fmla="*/ 0 w 1867"/>
                <a:gd name="T9" fmla="*/ 100 h 900"/>
                <a:gd name="T10" fmla="*/ 100 w 1867"/>
                <a:gd name="T11" fmla="*/ 0 h 900"/>
                <a:gd name="T12" fmla="*/ 1767 w 1867"/>
                <a:gd name="T13" fmla="*/ 0 h 900"/>
                <a:gd name="T14" fmla="*/ 1867 w 1867"/>
                <a:gd name="T15" fmla="*/ 100 h 900"/>
                <a:gd name="T16" fmla="*/ 1867 w 1867"/>
                <a:gd name="T17" fmla="*/ 801 h 900"/>
                <a:gd name="T18" fmla="*/ 1767 w 1867"/>
                <a:gd name="T19"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7" h="900">
                  <a:moveTo>
                    <a:pt x="1767" y="900"/>
                  </a:moveTo>
                  <a:cubicBezTo>
                    <a:pt x="1711" y="900"/>
                    <a:pt x="1667" y="856"/>
                    <a:pt x="1667" y="801"/>
                  </a:cubicBezTo>
                  <a:lnTo>
                    <a:pt x="1667" y="200"/>
                  </a:lnTo>
                  <a:lnTo>
                    <a:pt x="100" y="200"/>
                  </a:lnTo>
                  <a:cubicBezTo>
                    <a:pt x="45" y="200"/>
                    <a:pt x="0" y="156"/>
                    <a:pt x="0" y="100"/>
                  </a:cubicBezTo>
                  <a:cubicBezTo>
                    <a:pt x="0" y="46"/>
                    <a:pt x="45" y="0"/>
                    <a:pt x="100" y="0"/>
                  </a:cubicBezTo>
                  <a:lnTo>
                    <a:pt x="1767" y="0"/>
                  </a:lnTo>
                  <a:cubicBezTo>
                    <a:pt x="1822" y="0"/>
                    <a:pt x="1867" y="46"/>
                    <a:pt x="1867" y="100"/>
                  </a:cubicBezTo>
                  <a:lnTo>
                    <a:pt x="1867" y="801"/>
                  </a:lnTo>
                  <a:cubicBezTo>
                    <a:pt x="1867" y="856"/>
                    <a:pt x="1822" y="900"/>
                    <a:pt x="1767" y="90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Network6" descr="{&quot;Key&quot;:&quot;POWER_USER_SHAPE_ICON&quot;,&quot;Value&quot;:&quot;POWER_USER_SHAPE_ICON_STYLE_1&quot;}">
            <a:extLst>
              <a:ext uri="{FF2B5EF4-FFF2-40B4-BE49-F238E27FC236}">
                <a16:creationId xmlns:a16="http://schemas.microsoft.com/office/drawing/2014/main" id="{458897A2-53FA-46A9-B589-F66A657D9F90}"/>
              </a:ext>
            </a:extLst>
          </p:cNvPr>
          <p:cNvGrpSpPr>
            <a:grpSpLocks noChangeAspect="1"/>
          </p:cNvGrpSpPr>
          <p:nvPr>
            <p:custDataLst>
              <p:tags r:id="rId1"/>
            </p:custDataLst>
          </p:nvPr>
        </p:nvGrpSpPr>
        <p:grpSpPr>
          <a:xfrm>
            <a:off x="6520214" y="1964735"/>
            <a:ext cx="2744010" cy="2928530"/>
            <a:chOff x="8237202" y="2395137"/>
            <a:chExt cx="1956462" cy="2088027"/>
          </a:xfrm>
        </p:grpSpPr>
        <p:grpSp>
          <p:nvGrpSpPr>
            <p:cNvPr id="15" name="Computer5">
              <a:extLst>
                <a:ext uri="{FF2B5EF4-FFF2-40B4-BE49-F238E27FC236}">
                  <a16:creationId xmlns:a16="http://schemas.microsoft.com/office/drawing/2014/main" id="{FBB3C74D-EDEF-48C1-9AEE-C12BF7ACA3A6}"/>
                </a:ext>
              </a:extLst>
            </p:cNvPr>
            <p:cNvGrpSpPr>
              <a:grpSpLocks noChangeAspect="1"/>
            </p:cNvGrpSpPr>
            <p:nvPr>
              <p:custDataLst>
                <p:tags r:id="rId2"/>
              </p:custDataLst>
            </p:nvPr>
          </p:nvGrpSpPr>
          <p:grpSpPr>
            <a:xfrm>
              <a:off x="8434762" y="3399291"/>
              <a:ext cx="684506" cy="597218"/>
              <a:chOff x="3180521" y="4219534"/>
              <a:chExt cx="2834901" cy="2473394"/>
            </a:xfrm>
            <a:solidFill>
              <a:schemeClr val="accent1"/>
            </a:solidFill>
          </p:grpSpPr>
          <p:sp>
            <p:nvSpPr>
              <p:cNvPr id="27" name="Freeform: Shape 1347">
                <a:extLst>
                  <a:ext uri="{FF2B5EF4-FFF2-40B4-BE49-F238E27FC236}">
                    <a16:creationId xmlns:a16="http://schemas.microsoft.com/office/drawing/2014/main" id="{633CF66D-088C-42DB-B2A9-59D2606BCDEF}"/>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Shape 1351">
                <a:extLst>
                  <a:ext uri="{FF2B5EF4-FFF2-40B4-BE49-F238E27FC236}">
                    <a16:creationId xmlns:a16="http://schemas.microsoft.com/office/drawing/2014/main" id="{3CBFEE4D-F73C-4E19-BC50-E49A19875031}"/>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419">
                <a:extLst>
                  <a:ext uri="{FF2B5EF4-FFF2-40B4-BE49-F238E27FC236}">
                    <a16:creationId xmlns:a16="http://schemas.microsoft.com/office/drawing/2014/main" id="{4B46BB2F-AB44-46E3-8895-136F65FE77D6}"/>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 name="Target">
              <a:extLst>
                <a:ext uri="{FF2B5EF4-FFF2-40B4-BE49-F238E27FC236}">
                  <a16:creationId xmlns:a16="http://schemas.microsoft.com/office/drawing/2014/main" id="{5CDD4E25-F4C5-4E84-A3E2-51267E9FEAB1}"/>
                </a:ext>
              </a:extLst>
            </p:cNvPr>
            <p:cNvSpPr>
              <a:spLocks/>
            </p:cNvSpPr>
            <p:nvPr>
              <p:custDataLst>
                <p:tags r:id="rId3"/>
              </p:custDataLst>
            </p:nvPr>
          </p:nvSpPr>
          <p:spPr bwMode="auto">
            <a:xfrm rot="3331643">
              <a:off x="8370420" y="2622889"/>
              <a:ext cx="415833" cy="682269"/>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arget">
              <a:extLst>
                <a:ext uri="{FF2B5EF4-FFF2-40B4-BE49-F238E27FC236}">
                  <a16:creationId xmlns:a16="http://schemas.microsoft.com/office/drawing/2014/main" id="{1C75EAEA-546F-4E29-84BE-E4B152F6F39B}"/>
                </a:ext>
              </a:extLst>
            </p:cNvPr>
            <p:cNvSpPr>
              <a:spLocks/>
            </p:cNvSpPr>
            <p:nvPr>
              <p:custDataLst>
                <p:tags r:id="rId4"/>
              </p:custDataLst>
            </p:nvPr>
          </p:nvSpPr>
          <p:spPr bwMode="auto">
            <a:xfrm rot="10560000">
              <a:off x="9777831" y="2611170"/>
              <a:ext cx="415833" cy="682269"/>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8" name="Computer5">
              <a:extLst>
                <a:ext uri="{FF2B5EF4-FFF2-40B4-BE49-F238E27FC236}">
                  <a16:creationId xmlns:a16="http://schemas.microsoft.com/office/drawing/2014/main" id="{AC57E8AB-4D23-4B24-B5E6-A9793A598EE1}"/>
                </a:ext>
              </a:extLst>
            </p:cNvPr>
            <p:cNvGrpSpPr>
              <a:grpSpLocks noChangeAspect="1"/>
            </p:cNvGrpSpPr>
            <p:nvPr>
              <p:custDataLst>
                <p:tags r:id="rId5"/>
              </p:custDataLst>
            </p:nvPr>
          </p:nvGrpSpPr>
          <p:grpSpPr>
            <a:xfrm>
              <a:off x="9504696" y="3399291"/>
              <a:ext cx="684506" cy="597218"/>
              <a:chOff x="3180521" y="4219534"/>
              <a:chExt cx="2834901" cy="2473394"/>
            </a:xfrm>
            <a:solidFill>
              <a:schemeClr val="accent1"/>
            </a:solidFill>
          </p:grpSpPr>
          <p:sp>
            <p:nvSpPr>
              <p:cNvPr id="24" name="Freeform: Shape 1347">
                <a:extLst>
                  <a:ext uri="{FF2B5EF4-FFF2-40B4-BE49-F238E27FC236}">
                    <a16:creationId xmlns:a16="http://schemas.microsoft.com/office/drawing/2014/main" id="{094B418C-E844-4316-921D-085589C2D008}"/>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Shape 1351">
                <a:extLst>
                  <a:ext uri="{FF2B5EF4-FFF2-40B4-BE49-F238E27FC236}">
                    <a16:creationId xmlns:a16="http://schemas.microsoft.com/office/drawing/2014/main" id="{9F9CC6C2-8EA7-4642-84AF-3BE49C124CFF}"/>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419">
                <a:extLst>
                  <a:ext uri="{FF2B5EF4-FFF2-40B4-BE49-F238E27FC236}">
                    <a16:creationId xmlns:a16="http://schemas.microsoft.com/office/drawing/2014/main" id="{F56FB855-452C-47CA-81BC-60A3EB63CF0B}"/>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 name="Computer5">
              <a:extLst>
                <a:ext uri="{FF2B5EF4-FFF2-40B4-BE49-F238E27FC236}">
                  <a16:creationId xmlns:a16="http://schemas.microsoft.com/office/drawing/2014/main" id="{3844C830-6BD6-405E-93F0-FF05A6DEA2DC}"/>
                </a:ext>
              </a:extLst>
            </p:cNvPr>
            <p:cNvGrpSpPr>
              <a:grpSpLocks noChangeAspect="1"/>
            </p:cNvGrpSpPr>
            <p:nvPr>
              <p:custDataLst>
                <p:tags r:id="rId6"/>
              </p:custDataLst>
            </p:nvPr>
          </p:nvGrpSpPr>
          <p:grpSpPr>
            <a:xfrm>
              <a:off x="8973634" y="2395137"/>
              <a:ext cx="684506" cy="597218"/>
              <a:chOff x="3180521" y="4219534"/>
              <a:chExt cx="2834901" cy="2473394"/>
            </a:xfrm>
            <a:solidFill>
              <a:schemeClr val="accent1"/>
            </a:solidFill>
          </p:grpSpPr>
          <p:sp>
            <p:nvSpPr>
              <p:cNvPr id="21" name="Freeform: Shape 1347">
                <a:extLst>
                  <a:ext uri="{FF2B5EF4-FFF2-40B4-BE49-F238E27FC236}">
                    <a16:creationId xmlns:a16="http://schemas.microsoft.com/office/drawing/2014/main" id="{334F4B34-BEDD-4AD1-AC27-4BE65535F56E}"/>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Shape 1351">
                <a:extLst>
                  <a:ext uri="{FF2B5EF4-FFF2-40B4-BE49-F238E27FC236}">
                    <a16:creationId xmlns:a16="http://schemas.microsoft.com/office/drawing/2014/main" id="{A2BB9ED8-BBD3-4AFD-ABBF-789BF0107608}"/>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419">
                <a:extLst>
                  <a:ext uri="{FF2B5EF4-FFF2-40B4-BE49-F238E27FC236}">
                    <a16:creationId xmlns:a16="http://schemas.microsoft.com/office/drawing/2014/main" id="{97CCE4EA-024B-4DFB-ADB9-A9836F12C3C7}"/>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Target">
              <a:extLst>
                <a:ext uri="{FF2B5EF4-FFF2-40B4-BE49-F238E27FC236}">
                  <a16:creationId xmlns:a16="http://schemas.microsoft.com/office/drawing/2014/main" id="{A72864C3-F33E-486F-9DE5-820FB592C1CA}"/>
                </a:ext>
              </a:extLst>
            </p:cNvPr>
            <p:cNvSpPr>
              <a:spLocks/>
            </p:cNvSpPr>
            <p:nvPr>
              <p:custDataLst>
                <p:tags r:id="rId7"/>
              </p:custDataLst>
            </p:nvPr>
          </p:nvSpPr>
          <p:spPr bwMode="auto">
            <a:xfrm rot="17760000">
              <a:off x="9064307" y="3818812"/>
              <a:ext cx="503158" cy="82554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7" name="TextBox 76">
            <a:extLst>
              <a:ext uri="{FF2B5EF4-FFF2-40B4-BE49-F238E27FC236}">
                <a16:creationId xmlns:a16="http://schemas.microsoft.com/office/drawing/2014/main" id="{39906B97-42F4-4C27-AA22-E1A72095E735}"/>
              </a:ext>
            </a:extLst>
          </p:cNvPr>
          <p:cNvSpPr txBox="1"/>
          <p:nvPr/>
        </p:nvSpPr>
        <p:spPr>
          <a:xfrm>
            <a:off x="1397876" y="5686097"/>
            <a:ext cx="3384331" cy="369332"/>
          </a:xfrm>
          <a:prstGeom prst="rect">
            <a:avLst/>
          </a:prstGeom>
          <a:noFill/>
        </p:spPr>
        <p:txBody>
          <a:bodyPr wrap="square" rtlCol="0">
            <a:spAutoFit/>
          </a:bodyPr>
          <a:lstStyle/>
          <a:p>
            <a:r>
              <a:rPr lang="en-US" dirty="0"/>
              <a:t>Client / Workstation - Server</a:t>
            </a:r>
          </a:p>
        </p:txBody>
      </p:sp>
      <p:sp>
        <p:nvSpPr>
          <p:cNvPr id="78" name="TextBox 77">
            <a:extLst>
              <a:ext uri="{FF2B5EF4-FFF2-40B4-BE49-F238E27FC236}">
                <a16:creationId xmlns:a16="http://schemas.microsoft.com/office/drawing/2014/main" id="{F802DFFE-57F1-40FB-B608-7D40A509A415}"/>
              </a:ext>
            </a:extLst>
          </p:cNvPr>
          <p:cNvSpPr txBox="1"/>
          <p:nvPr/>
        </p:nvSpPr>
        <p:spPr>
          <a:xfrm>
            <a:off x="7892219" y="5686097"/>
            <a:ext cx="1826483" cy="369332"/>
          </a:xfrm>
          <a:prstGeom prst="rect">
            <a:avLst/>
          </a:prstGeom>
          <a:noFill/>
        </p:spPr>
        <p:txBody>
          <a:bodyPr wrap="square" rtlCol="0">
            <a:spAutoFit/>
          </a:bodyPr>
          <a:lstStyle/>
          <a:p>
            <a:r>
              <a:rPr lang="en-US" dirty="0"/>
              <a:t>Peer - to - peer </a:t>
            </a:r>
          </a:p>
        </p:txBody>
      </p:sp>
    </p:spTree>
    <p:extLst>
      <p:ext uri="{BB962C8B-B14F-4D97-AF65-F5344CB8AC3E}">
        <p14:creationId xmlns:p14="http://schemas.microsoft.com/office/powerpoint/2010/main" val="965889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FABAC-8EB6-484E-ABAF-6F8B599EEE75}"/>
              </a:ext>
            </a:extLst>
          </p:cNvPr>
          <p:cNvSpPr>
            <a:spLocks noGrp="1"/>
          </p:cNvSpPr>
          <p:nvPr>
            <p:ph type="title"/>
          </p:nvPr>
        </p:nvSpPr>
        <p:spPr/>
        <p:txBody>
          <a:bodyPr/>
          <a:lstStyle/>
          <a:p>
            <a:r>
              <a:rPr lang="en-US" dirty="0"/>
              <a:t>LAN</a:t>
            </a:r>
          </a:p>
        </p:txBody>
      </p:sp>
      <p:pic>
        <p:nvPicPr>
          <p:cNvPr id="5" name="Content Placeholder 4">
            <a:extLst>
              <a:ext uri="{FF2B5EF4-FFF2-40B4-BE49-F238E27FC236}">
                <a16:creationId xmlns:a16="http://schemas.microsoft.com/office/drawing/2014/main" id="{C0849695-7A6E-4101-849A-A0B89C159448}"/>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938790" y="1690688"/>
            <a:ext cx="5915025" cy="4219575"/>
          </a:xfrm>
        </p:spPr>
      </p:pic>
    </p:spTree>
    <p:extLst>
      <p:ext uri="{BB962C8B-B14F-4D97-AF65-F5344CB8AC3E}">
        <p14:creationId xmlns:p14="http://schemas.microsoft.com/office/powerpoint/2010/main" val="2091647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F3958-1F3C-49D6-843D-784CE6AF1997}"/>
              </a:ext>
            </a:extLst>
          </p:cNvPr>
          <p:cNvSpPr>
            <a:spLocks noGrp="1"/>
          </p:cNvSpPr>
          <p:nvPr>
            <p:ph type="title"/>
          </p:nvPr>
        </p:nvSpPr>
        <p:spPr/>
        <p:txBody>
          <a:bodyPr/>
          <a:lstStyle/>
          <a:p>
            <a:r>
              <a:rPr lang="en-US" dirty="0"/>
              <a:t>WAN</a:t>
            </a:r>
          </a:p>
        </p:txBody>
      </p:sp>
      <p:pic>
        <p:nvPicPr>
          <p:cNvPr id="1026" name="Picture 2" descr="WAN (Wide Area Network) - Types, Uses, and Disadvantages">
            <a:extLst>
              <a:ext uri="{FF2B5EF4-FFF2-40B4-BE49-F238E27FC236}">
                <a16:creationId xmlns:a16="http://schemas.microsoft.com/office/drawing/2014/main" id="{8BB30844-EE32-474B-8ECE-62E8A996A7AA}"/>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b="10372"/>
          <a:stretch/>
        </p:blipFill>
        <p:spPr bwMode="auto">
          <a:xfrm>
            <a:off x="2827283" y="1234210"/>
            <a:ext cx="6758151" cy="49668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780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958A8-5349-44B2-BDB3-448E2836F158}"/>
              </a:ext>
            </a:extLst>
          </p:cNvPr>
          <p:cNvSpPr>
            <a:spLocks noGrp="1"/>
          </p:cNvSpPr>
          <p:nvPr>
            <p:ph type="title"/>
          </p:nvPr>
        </p:nvSpPr>
        <p:spPr/>
        <p:txBody>
          <a:bodyPr/>
          <a:lstStyle/>
          <a:p>
            <a:r>
              <a:rPr lang="en-US" dirty="0"/>
              <a:t>Servers</a:t>
            </a:r>
          </a:p>
        </p:txBody>
      </p:sp>
      <p:graphicFrame>
        <p:nvGraphicFramePr>
          <p:cNvPr id="4" name="Content Placeholder 3">
            <a:extLst>
              <a:ext uri="{FF2B5EF4-FFF2-40B4-BE49-F238E27FC236}">
                <a16:creationId xmlns:a16="http://schemas.microsoft.com/office/drawing/2014/main" id="{975D9185-3C1C-41D2-ABC8-827F6AE6CC16}"/>
              </a:ext>
            </a:extLst>
          </p:cNvPr>
          <p:cNvGraphicFramePr>
            <a:graphicFrameLocks noGrp="1"/>
          </p:cNvGraphicFramePr>
          <p:nvPr>
            <p:ph idx="1"/>
            <p:extLst>
              <p:ext uri="{D42A27DB-BD31-4B8C-83A1-F6EECF244321}">
                <p14:modId xmlns:p14="http://schemas.microsoft.com/office/powerpoint/2010/main" val="2260447219"/>
              </p:ext>
            </p:extLst>
          </p:nvPr>
        </p:nvGraphicFramePr>
        <p:xfrm>
          <a:off x="838199" y="1376855"/>
          <a:ext cx="10765221" cy="52236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3841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C3581-6CF6-44D4-BEBD-84993E38466E}"/>
              </a:ext>
            </a:extLst>
          </p:cNvPr>
          <p:cNvSpPr>
            <a:spLocks noGrp="1"/>
          </p:cNvSpPr>
          <p:nvPr>
            <p:ph type="title"/>
          </p:nvPr>
        </p:nvSpPr>
        <p:spPr/>
        <p:txBody>
          <a:bodyPr/>
          <a:lstStyle/>
          <a:p>
            <a:r>
              <a:rPr lang="en-US" dirty="0"/>
              <a:t>Internet, Intranet, Extranet</a:t>
            </a:r>
          </a:p>
        </p:txBody>
      </p:sp>
      <p:sp>
        <p:nvSpPr>
          <p:cNvPr id="3" name="Content Placeholder 2">
            <a:extLst>
              <a:ext uri="{FF2B5EF4-FFF2-40B4-BE49-F238E27FC236}">
                <a16:creationId xmlns:a16="http://schemas.microsoft.com/office/drawing/2014/main" id="{5216C49E-A30D-47DC-9179-08873238AB0B}"/>
              </a:ext>
            </a:extLst>
          </p:cNvPr>
          <p:cNvSpPr>
            <a:spLocks noGrp="1"/>
          </p:cNvSpPr>
          <p:nvPr>
            <p:ph idx="1"/>
          </p:nvPr>
        </p:nvSpPr>
        <p:spPr>
          <a:xfrm>
            <a:off x="838200" y="1534510"/>
            <a:ext cx="10515600" cy="5044966"/>
          </a:xfrm>
        </p:spPr>
        <p:txBody>
          <a:bodyPr>
            <a:normAutofit lnSpcReduction="10000"/>
          </a:bodyPr>
          <a:lstStyle/>
          <a:p>
            <a:r>
              <a:rPr lang="en-US" b="1" dirty="0"/>
              <a:t>Internet i</a:t>
            </a:r>
            <a:r>
              <a:rPr lang="en-US" dirty="0"/>
              <a:t>s the collection of all computers across the world which can access each other in some way. </a:t>
            </a:r>
          </a:p>
          <a:p>
            <a:r>
              <a:rPr lang="en-US" b="1" dirty="0"/>
              <a:t>Intranet </a:t>
            </a:r>
            <a:r>
              <a:rPr lang="en-US" dirty="0"/>
              <a:t>similar to the Internet in operation. However, it is limited to an organization. Users may browse computers within an intranet using a browser but will usually not be able to access the wider Internet. In the same way, outsiders will not be able to access the intranet of an organization. An intranet can be thought of as a private Internet</a:t>
            </a:r>
          </a:p>
          <a:p>
            <a:r>
              <a:rPr lang="en-US" b="1" dirty="0"/>
              <a:t>Extranet </a:t>
            </a:r>
            <a:r>
              <a:rPr lang="en-US" dirty="0"/>
              <a:t>is an extension of a organization's intranet to include outside users outside organizations or individuals are allowed access to certain parts of the intranet. This access is usually controlled by means of passwords and access rights. The purpose of the extranet is to facilitate business transactions with other organizations. </a:t>
            </a:r>
          </a:p>
        </p:txBody>
      </p:sp>
    </p:spTree>
    <p:extLst>
      <p:ext uri="{BB962C8B-B14F-4D97-AF65-F5344CB8AC3E}">
        <p14:creationId xmlns:p14="http://schemas.microsoft.com/office/powerpoint/2010/main" val="1890268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2C8E3-27E2-4EF4-A64E-260EE6E52ABE}"/>
              </a:ext>
            </a:extLst>
          </p:cNvPr>
          <p:cNvSpPr>
            <a:spLocks noGrp="1"/>
          </p:cNvSpPr>
          <p:nvPr>
            <p:ph type="title"/>
          </p:nvPr>
        </p:nvSpPr>
        <p:spPr>
          <a:xfrm>
            <a:off x="838200" y="365126"/>
            <a:ext cx="10515600" cy="1127344"/>
          </a:xfrm>
        </p:spPr>
        <p:txBody>
          <a:bodyPr/>
          <a:lstStyle/>
          <a:p>
            <a:r>
              <a:rPr lang="en-US" b="1" dirty="0"/>
              <a:t>Internet usage</a:t>
            </a:r>
          </a:p>
        </p:txBody>
      </p:sp>
      <p:sp>
        <p:nvSpPr>
          <p:cNvPr id="3" name="Content Placeholder 2">
            <a:extLst>
              <a:ext uri="{FF2B5EF4-FFF2-40B4-BE49-F238E27FC236}">
                <a16:creationId xmlns:a16="http://schemas.microsoft.com/office/drawing/2014/main" id="{3290C8AF-1D68-4DF0-80C3-A607FB0CA0A8}"/>
              </a:ext>
            </a:extLst>
          </p:cNvPr>
          <p:cNvSpPr>
            <a:spLocks noGrp="1"/>
          </p:cNvSpPr>
          <p:nvPr>
            <p:ph idx="1"/>
          </p:nvPr>
        </p:nvSpPr>
        <p:spPr>
          <a:xfrm>
            <a:off x="838200" y="1492471"/>
            <a:ext cx="5334001" cy="4879146"/>
          </a:xfrm>
        </p:spPr>
        <p:txBody>
          <a:bodyPr>
            <a:normAutofit fontScale="77500" lnSpcReduction="20000"/>
          </a:bodyPr>
          <a:lstStyle/>
          <a:p>
            <a:pPr>
              <a:lnSpc>
                <a:spcPct val="120000"/>
              </a:lnSpc>
            </a:pPr>
            <a:r>
              <a:rPr lang="en-US" dirty="0"/>
              <a:t>Integrate the operations of multinational corporations.</a:t>
            </a:r>
          </a:p>
          <a:p>
            <a:pPr>
              <a:lnSpc>
                <a:spcPct val="120000"/>
              </a:lnSpc>
            </a:pPr>
            <a:r>
              <a:rPr lang="en-US" dirty="0"/>
              <a:t>Provide access to and share information and databases.</a:t>
            </a:r>
          </a:p>
          <a:p>
            <a:pPr>
              <a:lnSpc>
                <a:spcPct val="120000"/>
              </a:lnSpc>
            </a:pPr>
            <a:r>
              <a:rPr lang="en-US" dirty="0"/>
              <a:t>Transfer and share files between computers.</a:t>
            </a:r>
          </a:p>
          <a:p>
            <a:pPr>
              <a:lnSpc>
                <a:spcPct val="120000"/>
              </a:lnSpc>
            </a:pPr>
            <a:r>
              <a:rPr lang="en-US" dirty="0"/>
              <a:t>Facilitate business transactions.</a:t>
            </a:r>
          </a:p>
          <a:p>
            <a:pPr>
              <a:lnSpc>
                <a:spcPct val="120000"/>
              </a:lnSpc>
            </a:pPr>
            <a:r>
              <a:rPr lang="en-US" dirty="0"/>
              <a:t>Share resources.</a:t>
            </a:r>
          </a:p>
          <a:p>
            <a:pPr>
              <a:lnSpc>
                <a:spcPct val="120000"/>
              </a:lnSpc>
            </a:pPr>
            <a:r>
              <a:rPr lang="en-US" dirty="0"/>
              <a:t>Promote scientific co-operation between research institutions.</a:t>
            </a:r>
          </a:p>
          <a:p>
            <a:pPr>
              <a:lnSpc>
                <a:spcPct val="120000"/>
              </a:lnSpc>
            </a:pPr>
            <a:r>
              <a:rPr lang="en-US" dirty="0"/>
              <a:t>Provide a communications channel for the military.</a:t>
            </a:r>
          </a:p>
        </p:txBody>
      </p:sp>
      <p:pic>
        <p:nvPicPr>
          <p:cNvPr id="1026" name="Picture 2" descr="internet_technologies_tutorial">
            <a:extLst>
              <a:ext uri="{FF2B5EF4-FFF2-40B4-BE49-F238E27FC236}">
                <a16:creationId xmlns:a16="http://schemas.microsoft.com/office/drawing/2014/main" id="{95081BE9-AC06-4B95-8196-0DDC7CF8CC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9800" y="2115572"/>
            <a:ext cx="5334000"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3021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5C90A-02E3-4FEC-B7DD-0E302952753A}"/>
              </a:ext>
            </a:extLst>
          </p:cNvPr>
          <p:cNvSpPr>
            <a:spLocks noGrp="1"/>
          </p:cNvSpPr>
          <p:nvPr>
            <p:ph type="title"/>
          </p:nvPr>
        </p:nvSpPr>
        <p:spPr/>
        <p:txBody>
          <a:bodyPr/>
          <a:lstStyle/>
          <a:p>
            <a:r>
              <a:rPr lang="en-US" b="1" dirty="0"/>
              <a:t>World Wide Web</a:t>
            </a:r>
            <a:r>
              <a:rPr lang="en-US" dirty="0"/>
              <a:t>  (www)</a:t>
            </a:r>
          </a:p>
        </p:txBody>
      </p:sp>
      <p:sp>
        <p:nvSpPr>
          <p:cNvPr id="3" name="Content Placeholder 2">
            <a:extLst>
              <a:ext uri="{FF2B5EF4-FFF2-40B4-BE49-F238E27FC236}">
                <a16:creationId xmlns:a16="http://schemas.microsoft.com/office/drawing/2014/main" id="{00E994F0-FA19-4E0C-80B5-2897CC7DC671}"/>
              </a:ext>
            </a:extLst>
          </p:cNvPr>
          <p:cNvSpPr>
            <a:spLocks noGrp="1"/>
          </p:cNvSpPr>
          <p:nvPr>
            <p:ph idx="1"/>
          </p:nvPr>
        </p:nvSpPr>
        <p:spPr/>
        <p:txBody>
          <a:bodyPr>
            <a:normAutofit/>
          </a:bodyPr>
          <a:lstStyle/>
          <a:p>
            <a:pPr marL="0" indent="0">
              <a:buNone/>
            </a:pPr>
            <a:r>
              <a:rPr lang="en-US" dirty="0"/>
              <a:t>Part of the Internet. The WWW consists of all the sites that can be accessed using a </a:t>
            </a:r>
            <a:r>
              <a:rPr lang="en-US" b="1" dirty="0"/>
              <a:t>web browser </a:t>
            </a:r>
            <a:r>
              <a:rPr lang="en-US" dirty="0"/>
              <a:t>such as Mozilla, Netscape, Chrome, or Opera. In order for a browser to access a web site, the web site must contain files that have a particular format constructed using </a:t>
            </a:r>
            <a:r>
              <a:rPr lang="en-US" b="1" dirty="0" err="1"/>
              <a:t>HyperText</a:t>
            </a:r>
            <a:r>
              <a:rPr lang="en-US" b="1" dirty="0"/>
              <a:t> Markup Language </a:t>
            </a:r>
            <a:r>
              <a:rPr lang="en-US" dirty="0"/>
              <a:t>or </a:t>
            </a:r>
            <a:r>
              <a:rPr lang="en-US" b="1" dirty="0"/>
              <a:t>HTML</a:t>
            </a:r>
            <a:r>
              <a:rPr lang="en-US" dirty="0"/>
              <a:t>. These sites are developed using special web development applications. It is possible to create simple web sites using a word processor by saving the document in HTML format.</a:t>
            </a:r>
            <a:br>
              <a:rPr lang="en-US" dirty="0"/>
            </a:br>
            <a:r>
              <a:rPr lang="en-US" dirty="0"/>
              <a:t>The HTML documents are stored as </a:t>
            </a:r>
            <a:r>
              <a:rPr lang="en-US" b="1" dirty="0"/>
              <a:t>web pages </a:t>
            </a:r>
            <a:r>
              <a:rPr lang="en-US" dirty="0"/>
              <a:t>on special servers known as </a:t>
            </a:r>
            <a:r>
              <a:rPr lang="en-US" b="1" dirty="0"/>
              <a:t>web servers</a:t>
            </a:r>
            <a:r>
              <a:rPr lang="en-US" dirty="0"/>
              <a:t>. These run special web server software such as </a:t>
            </a:r>
            <a:r>
              <a:rPr lang="en-US" b="1" dirty="0"/>
              <a:t>Apache Web Server </a:t>
            </a:r>
            <a:r>
              <a:rPr lang="en-US" dirty="0"/>
              <a:t>or </a:t>
            </a:r>
            <a:r>
              <a:rPr lang="en-US" b="1" dirty="0"/>
              <a:t>Internet Information Services</a:t>
            </a:r>
            <a:r>
              <a:rPr lang="en-US" dirty="0"/>
              <a:t>. </a:t>
            </a:r>
          </a:p>
        </p:txBody>
      </p:sp>
    </p:spTree>
    <p:extLst>
      <p:ext uri="{BB962C8B-B14F-4D97-AF65-F5344CB8AC3E}">
        <p14:creationId xmlns:p14="http://schemas.microsoft.com/office/powerpoint/2010/main" val="1109184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network*connect*connection*connectivity*networking**networked*linking*linked*decentralized*decentralization*connections*connected*organization*port*technology*server"/>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9</TotalTime>
  <Words>864</Words>
  <Application>Microsoft Office PowerPoint</Application>
  <PresentationFormat>Widescreen</PresentationFormat>
  <Paragraphs>67</Paragraphs>
  <Slides>12</Slides>
  <Notes>8</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2</vt:i4>
      </vt:variant>
    </vt:vector>
  </HeadingPairs>
  <TitlesOfParts>
    <vt:vector size="16" baseType="lpstr">
      <vt:lpstr>Arial</vt:lpstr>
      <vt:lpstr>Calibri</vt:lpstr>
      <vt:lpstr>Calibri Light</vt:lpstr>
      <vt:lpstr>Office Theme</vt:lpstr>
      <vt:lpstr> Lecture 4: Information Networks</vt:lpstr>
      <vt:lpstr>Networks</vt:lpstr>
      <vt:lpstr>Network</vt:lpstr>
      <vt:lpstr>LAN</vt:lpstr>
      <vt:lpstr>WAN</vt:lpstr>
      <vt:lpstr>Servers</vt:lpstr>
      <vt:lpstr>Internet, Intranet, Extranet</vt:lpstr>
      <vt:lpstr>Internet usage</vt:lpstr>
      <vt:lpstr>World Wide Web  (www)</vt:lpstr>
      <vt:lpstr>Analog / digital </vt:lpstr>
      <vt:lpstr>A modem or modulator-demodulator is a device connected between a computer and a telephone line. Its function is to convert the digital signals of the computer into a form suitable for transmission over a telephone line.  </vt:lpstr>
      <vt:lpstr>Data Transfer R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Networks</dc:title>
  <dc:creator>Ara Vartanian</dc:creator>
  <cp:lastModifiedBy>Ara Vartanian</cp:lastModifiedBy>
  <cp:revision>21</cp:revision>
  <dcterms:created xsi:type="dcterms:W3CDTF">2022-12-13T20:40:02Z</dcterms:created>
  <dcterms:modified xsi:type="dcterms:W3CDTF">2022-12-18T05:44:17Z</dcterms:modified>
</cp:coreProperties>
</file>